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  <p:sldMasterId id="2147483675" r:id="rId3"/>
  </p:sldMasterIdLst>
  <p:notesMasterIdLst>
    <p:notesMasterId r:id="rId22"/>
  </p:notesMasterIdLst>
  <p:handoutMasterIdLst>
    <p:handoutMasterId r:id="rId23"/>
  </p:handoutMasterIdLst>
  <p:sldIdLst>
    <p:sldId id="361" r:id="rId4"/>
    <p:sldId id="373" r:id="rId5"/>
    <p:sldId id="374" r:id="rId6"/>
    <p:sldId id="355" r:id="rId7"/>
    <p:sldId id="356" r:id="rId8"/>
    <p:sldId id="339" r:id="rId9"/>
    <p:sldId id="310" r:id="rId10"/>
    <p:sldId id="318" r:id="rId11"/>
    <p:sldId id="367" r:id="rId12"/>
    <p:sldId id="311" r:id="rId13"/>
    <p:sldId id="370" r:id="rId14"/>
    <p:sldId id="340" r:id="rId15"/>
    <p:sldId id="371" r:id="rId16"/>
    <p:sldId id="360" r:id="rId17"/>
    <p:sldId id="312" r:id="rId18"/>
    <p:sldId id="372" r:id="rId19"/>
    <p:sldId id="323" r:id="rId20"/>
    <p:sldId id="368" r:id="rId21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5558DF-111D-4D77-9A1C-537E622CF8A6}" v="3" dt="2019-02-15T14:59:40.799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7" autoAdjust="0"/>
    <p:restoredTop sz="83897" autoAdjust="0"/>
  </p:normalViewPr>
  <p:slideViewPr>
    <p:cSldViewPr snapToObjects="1" showGuides="1">
      <p:cViewPr varScale="1">
        <p:scale>
          <a:sx n="88" d="100"/>
          <a:sy n="88" d="100"/>
        </p:scale>
        <p:origin x="1302" y="96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73fe415a-d21a-4898-bfab-0e75d37181d7" providerId="ADAL" clId="{A55558DF-111D-4D77-9A1C-537E622CF8A6}"/>
    <pc:docChg chg="undo custSel addSld delSld modSld">
      <pc:chgData name="David Stevens" userId="73fe415a-d21a-4898-bfab-0e75d37181d7" providerId="ADAL" clId="{A55558DF-111D-4D77-9A1C-537E622CF8A6}" dt="2019-02-15T14:59:43.409" v="495" actId="2696"/>
      <pc:docMkLst>
        <pc:docMk/>
      </pc:docMkLst>
      <pc:sldChg chg="addSp delSp modSp del modAnim">
        <pc:chgData name="David Stevens" userId="73fe415a-d21a-4898-bfab-0e75d37181d7" providerId="ADAL" clId="{A55558DF-111D-4D77-9A1C-537E622CF8A6}" dt="2019-02-15T14:59:43.323" v="494" actId="2696"/>
        <pc:sldMkLst>
          <pc:docMk/>
          <pc:sldMk cId="2041146489" sldId="353"/>
        </pc:sldMkLst>
        <pc:spChg chg="add del mod">
          <ac:chgData name="David Stevens" userId="73fe415a-d21a-4898-bfab-0e75d37181d7" providerId="ADAL" clId="{A55558DF-111D-4D77-9A1C-537E622CF8A6}" dt="2019-01-16T16:48:36.613" v="484" actId="478"/>
          <ac:spMkLst>
            <pc:docMk/>
            <pc:sldMk cId="2041146489" sldId="353"/>
            <ac:spMk id="3" creationId="{89C994A4-F881-4E3C-B2BD-6194A9FD11E0}"/>
          </ac:spMkLst>
        </pc:spChg>
        <pc:spChg chg="add del mod">
          <ac:chgData name="David Stevens" userId="73fe415a-d21a-4898-bfab-0e75d37181d7" providerId="ADAL" clId="{A55558DF-111D-4D77-9A1C-537E622CF8A6}" dt="2019-01-16T16:48:33.780" v="482" actId="478"/>
          <ac:spMkLst>
            <pc:docMk/>
            <pc:sldMk cId="2041146489" sldId="353"/>
            <ac:spMk id="4" creationId="{5FF6E611-7BF6-40F3-B125-1468314FB3EA}"/>
          </ac:spMkLst>
        </pc:spChg>
        <pc:spChg chg="add del mod">
          <ac:chgData name="David Stevens" userId="73fe415a-d21a-4898-bfab-0e75d37181d7" providerId="ADAL" clId="{A55558DF-111D-4D77-9A1C-537E622CF8A6}" dt="2019-01-16T16:48:35.931" v="483" actId="478"/>
          <ac:spMkLst>
            <pc:docMk/>
            <pc:sldMk cId="2041146489" sldId="353"/>
            <ac:spMk id="5" creationId="{4B6519BD-5A39-4F9A-8CF5-AC7118F95C03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3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4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6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1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6T16:31:43.424" v="337" actId="20577"/>
          <ac:spMkLst>
            <pc:docMk/>
            <pc:sldMk cId="2041146489" sldId="353"/>
            <ac:spMk id="4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4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06.767" v="319" actId="165"/>
          <ac:spMkLst>
            <pc:docMk/>
            <pc:sldMk cId="2041146489" sldId="353"/>
            <ac:spMk id="5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3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0.876" v="320" actId="165"/>
          <ac:spMkLst>
            <pc:docMk/>
            <pc:sldMk cId="2041146489" sldId="353"/>
            <ac:spMk id="54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5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57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5:58.895" v="317" actId="165"/>
          <ac:spMkLst>
            <pc:docMk/>
            <pc:sldMk cId="2041146489" sldId="353"/>
            <ac:spMk id="5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7" creationId="{00000000-0000-0000-0000-000000000000}"/>
          </ac:spMkLst>
        </pc:spChg>
        <pc:spChg chg="mod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8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69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0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1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2" creationId="{00000000-0000-0000-0000-000000000000}"/>
          </ac:spMkLst>
        </pc:spChg>
        <pc:spChg chg="mod topLvl">
          <ac:chgData name="David Stevens" userId="73fe415a-d21a-4898-bfab-0e75d37181d7" providerId="ADAL" clId="{A55558DF-111D-4D77-9A1C-537E622CF8A6}" dt="2019-01-11T14:16:15.141" v="321" actId="164"/>
          <ac:spMkLst>
            <pc:docMk/>
            <pc:sldMk cId="2041146489" sldId="353"/>
            <ac:spMk id="74" creationId="{00000000-0000-0000-0000-000000000000}"/>
          </ac:spMkLst>
        </pc:spChg>
        <pc:grpChg chg="add mod">
          <ac:chgData name="David Stevens" userId="73fe415a-d21a-4898-bfab-0e75d37181d7" providerId="ADAL" clId="{A55558DF-111D-4D77-9A1C-537E622CF8A6}" dt="2019-01-11T14:16:15.141" v="321" actId="164"/>
          <ac:grpSpMkLst>
            <pc:docMk/>
            <pc:sldMk cId="2041146489" sldId="353"/>
            <ac:grpSpMk id="2" creationId="{C130837F-3C51-473F-838D-F0E873A6A676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3" creationId="{3A1C4C40-E52F-477D-87FC-76CA621FA760}"/>
          </ac:grpSpMkLst>
        </pc:grpChg>
        <pc:grpChg chg="del mod topLvl">
          <ac:chgData name="David Stevens" userId="73fe415a-d21a-4898-bfab-0e75d37181d7" providerId="ADAL" clId="{A55558DF-111D-4D77-9A1C-537E622CF8A6}" dt="2019-01-11T14:16:06.767" v="319" actId="165"/>
          <ac:grpSpMkLst>
            <pc:docMk/>
            <pc:sldMk cId="2041146489" sldId="353"/>
            <ac:grpSpMk id="11" creationId="{C00D043C-33DC-4A3E-AB75-1177A2BB86DA}"/>
          </ac:grpSpMkLst>
        </pc:grpChg>
        <pc:grpChg chg="de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12" creationId="{552B7451-9EF0-41E8-A63A-DD75C5C7CE93}"/>
          </ac:grpSpMkLst>
        </pc:grpChg>
        <pc:grpChg chg="de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19" creationId="{4B4A7DAA-F4DD-4FE8-9A63-5952ACC54A0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2" creationId="{BE8EBD0B-5F5A-407E-BBBA-9B38D55E6A64}"/>
          </ac:grpSpMkLst>
        </pc:grpChg>
        <pc:grpChg chg="del">
          <ac:chgData name="David Stevens" userId="73fe415a-d21a-4898-bfab-0e75d37181d7" providerId="ADAL" clId="{A55558DF-111D-4D77-9A1C-537E622CF8A6}" dt="2019-01-11T14:15:58.895" v="317" actId="165"/>
          <ac:grpSpMkLst>
            <pc:docMk/>
            <pc:sldMk cId="2041146489" sldId="353"/>
            <ac:grpSpMk id="24" creationId="{C4C3E76E-BA13-4F4C-AF1B-53141CC966D4}"/>
          </ac:grpSpMkLst>
        </pc:grpChg>
        <pc:grpChg chg="del mod topLvl">
          <ac:chgData name="David Stevens" userId="73fe415a-d21a-4898-bfab-0e75d37181d7" providerId="ADAL" clId="{A55558DF-111D-4D77-9A1C-537E622CF8A6}" dt="2019-01-11T14:16:10.876" v="320" actId="165"/>
          <ac:grpSpMkLst>
            <pc:docMk/>
            <pc:sldMk cId="2041146489" sldId="353"/>
            <ac:grpSpMk id="35" creationId="{00000000-0000-0000-0000-000000000000}"/>
          </ac:grpSpMkLst>
        </pc:grpChg>
        <pc:grpChg chg="del mod topLvl">
          <ac:chgData name="David Stevens" userId="73fe415a-d21a-4898-bfab-0e75d37181d7" providerId="ADAL" clId="{A55558DF-111D-4D77-9A1C-537E622CF8A6}" dt="2019-01-11T14:16:03.164" v="318" actId="165"/>
          <ac:grpSpMkLst>
            <pc:docMk/>
            <pc:sldMk cId="2041146489" sldId="353"/>
            <ac:grpSpMk id="84" creationId="{00000000-0000-0000-0000-000000000000}"/>
          </ac:grpSpMkLst>
        </pc:grpChg>
        <pc:picChg chg="mod topLvl">
          <ac:chgData name="David Stevens" userId="73fe415a-d21a-4898-bfab-0e75d37181d7" providerId="ADAL" clId="{A55558DF-111D-4D77-9A1C-537E622CF8A6}" dt="2019-01-11T14:16:10.876" v="320" actId="165"/>
          <ac:picMkLst>
            <pc:docMk/>
            <pc:sldMk cId="2041146489" sldId="353"/>
            <ac:picMk id="45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6:06.767" v="319" actId="165"/>
          <ac:picMkLst>
            <pc:docMk/>
            <pc:sldMk cId="2041146489" sldId="353"/>
            <ac:picMk id="47" creationId="{00000000-0000-0000-0000-000000000000}"/>
          </ac:picMkLst>
        </pc:picChg>
        <pc:picChg chg="mod topLvl">
          <ac:chgData name="David Stevens" userId="73fe415a-d21a-4898-bfab-0e75d37181d7" providerId="ADAL" clId="{A55558DF-111D-4D77-9A1C-537E622CF8A6}" dt="2019-01-11T14:15:58.895" v="317" actId="165"/>
          <ac:picMkLst>
            <pc:docMk/>
            <pc:sldMk cId="2041146489" sldId="353"/>
            <ac:picMk id="81" creationId="{00000000-0000-0000-0000-000000000000}"/>
          </ac:picMkLst>
        </pc:pic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0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21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1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37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4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49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2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59" creationId="{8F3F1FF9-51BD-4687-948B-37A052488483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5" creationId="{00000000-0000-0000-0000-000000000000}"/>
          </ac:cxnSpMkLst>
        </pc:cxnChg>
        <pc:cxnChg chg="mod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6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3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5" creationId="{7CD6BEFE-CF8E-4A20-A878-B450AB07E66F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6" creationId="{00000000-0000-0000-0000-000000000000}"/>
          </ac:cxnSpMkLst>
        </pc:cxnChg>
        <pc:cxnChg chg="mod topLvl">
          <ac:chgData name="David Stevens" userId="73fe415a-d21a-4898-bfab-0e75d37181d7" providerId="ADAL" clId="{A55558DF-111D-4D77-9A1C-537E622CF8A6}" dt="2019-01-11T14:16:15.141" v="321" actId="164"/>
          <ac:cxnSpMkLst>
            <pc:docMk/>
            <pc:sldMk cId="2041146489" sldId="353"/>
            <ac:cxnSpMk id="77" creationId="{BC5ED887-0032-4C90-8916-09629436D325}"/>
          </ac:cxnSpMkLst>
        </pc:cxnChg>
      </pc:sldChg>
      <pc:sldChg chg="addSp delSp modSp del">
        <pc:chgData name="David Stevens" userId="73fe415a-d21a-4898-bfab-0e75d37181d7" providerId="ADAL" clId="{A55558DF-111D-4D77-9A1C-537E622CF8A6}" dt="2019-02-15T14:59:43.409" v="495" actId="2696"/>
        <pc:sldMkLst>
          <pc:docMk/>
          <pc:sldMk cId="3318126158" sldId="354"/>
        </pc:sldMkLst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4" creationId="{B7C54E24-9012-48C7-8DF5-1376F4BED66A}"/>
          </ac:spMkLst>
        </pc:spChg>
        <pc:spChg chg="mod">
          <ac:chgData name="David Stevens" userId="73fe415a-d21a-4898-bfab-0e75d37181d7" providerId="ADAL" clId="{A55558DF-111D-4D77-9A1C-537E622CF8A6}" dt="2019-01-16T16:48:40.836" v="490" actId="20577"/>
          <ac:spMkLst>
            <pc:docMk/>
            <pc:sldMk cId="3318126158" sldId="354"/>
            <ac:spMk id="40" creationId="{00000000-0000-0000-0000-000000000000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6" creationId="{B0007525-9ED6-494A-BB32-7D151D2951D6}"/>
          </ac:spMkLst>
        </pc:spChg>
        <pc:spChg chg="add del mod">
          <ac:chgData name="David Stevens" userId="73fe415a-d21a-4898-bfab-0e75d37181d7" providerId="ADAL" clId="{A55558DF-111D-4D77-9A1C-537E622CF8A6}" dt="2019-01-16T16:48:44.092" v="491" actId="478"/>
          <ac:spMkLst>
            <pc:docMk/>
            <pc:sldMk cId="3318126158" sldId="354"/>
            <ac:spMk id="59" creationId="{8B24DEA7-9DA3-44C0-A6E0-52498310164C}"/>
          </ac:spMkLst>
        </pc:spChg>
      </pc:sldChg>
      <pc:sldChg chg="addSp delSp modSp">
        <pc:chgData name="David Stevens" userId="73fe415a-d21a-4898-bfab-0e75d37181d7" providerId="ADAL" clId="{A55558DF-111D-4D77-9A1C-537E622CF8A6}" dt="2019-01-11T14:19:52.945" v="324" actId="1076"/>
        <pc:sldMkLst>
          <pc:docMk/>
          <pc:sldMk cId="1612952753" sldId="355"/>
        </pc:sldMkLst>
        <pc:spChg chg="add del">
          <ac:chgData name="David Stevens" userId="73fe415a-d21a-4898-bfab-0e75d37181d7" providerId="ADAL" clId="{A55558DF-111D-4D77-9A1C-537E622CF8A6}" dt="2019-01-11T14:12:45.871" v="316" actId="478"/>
          <ac:spMkLst>
            <pc:docMk/>
            <pc:sldMk cId="1612952753" sldId="355"/>
            <ac:spMk id="133" creationId="{78F3665B-FA4C-4A76-91AD-68CD879A9573}"/>
          </ac:spMkLst>
        </pc:s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6" creationId="{75775934-F650-4C52-AA5C-F013EB4A54B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89" creationId="{974916CF-7E51-4CAF-8EF5-8BB8C4D1E03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32" creationId="{26AF8797-4D76-4D6D-96DB-1FFC8359D8E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75" creationId="{4A9FF89F-54AC-49CD-9DA3-B515D76B8145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18" creationId="{E44BBA85-F7A4-4E19-96B5-DEB0F16479F9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261" creationId="{3E95C4B6-7DAF-49FD-97EF-2F9CD6EFA5D1}"/>
          </ac:grpSpMkLst>
        </pc:grpChg>
        <pc:grpChg chg="mod topLvl">
          <ac:chgData name="David Stevens" userId="73fe415a-d21a-4898-bfab-0e75d37181d7" providerId="ADAL" clId="{A55558DF-111D-4D77-9A1C-537E622CF8A6}" dt="2019-01-11T14:19:52.945" v="324" actId="1076"/>
          <ac:grpSpMkLst>
            <pc:docMk/>
            <pc:sldMk cId="1612952753" sldId="355"/>
            <ac:grpSpMk id="304" creationId="{F01C86DD-47AD-4E6E-94E4-2EA98A6C77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47" creationId="{AB3E5A61-3199-4699-B155-5ED02BF89724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390" creationId="{7F89033C-0757-4E79-8830-5077444D43F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33" creationId="{ECD0524B-0DE4-445B-8399-8C082500F81A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476" creationId="{FBF1B06C-D937-4B2C-B593-9529F5B6C5F2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3" creationId="{ECFEA3D4-55DA-41E3-82E4-0E1B429C966B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5" creationId="{F9848C83-CCEE-46B7-8C55-BDDCBEB39E2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6" creationId="{5B3F325B-D188-40CA-BD22-FEE074546883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8" creationId="{DE4F85B5-8D7E-4AE3-8131-6D9F0173065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29" creationId="{A0BC5850-0B4E-49A2-8A6E-0BD9884B2F60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0" creationId="{D4CE2A97-30E9-48A1-B12C-ECE6383FB89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531" creationId="{67F429F5-9265-4695-B6F8-75A3BA2831EE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994" creationId="{C750DB56-4FD9-4852-98E2-910793138BBF}"/>
          </ac:grpSpMkLst>
        </pc:grpChg>
        <pc:grpChg chg="mod topLv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37" creationId="{A4F97684-E800-4621-8ECB-79513BC37FBE}"/>
          </ac:grpSpMkLst>
        </pc:grpChg>
        <pc:grpChg chg="del">
          <ac:chgData name="David Stevens" userId="73fe415a-d21a-4898-bfab-0e75d37181d7" providerId="ADAL" clId="{A55558DF-111D-4D77-9A1C-537E622CF8A6}" dt="2019-01-11T14:19:49.080" v="322" actId="165"/>
          <ac:grpSpMkLst>
            <pc:docMk/>
            <pc:sldMk cId="1612952753" sldId="355"/>
            <ac:grpSpMk id="1080" creationId="{0FD7294E-B20C-48B8-99C2-D32C4CD7EB99}"/>
          </ac:grpSpMkLst>
        </pc:grpChg>
      </pc:sldChg>
      <pc:sldChg chg="addSp modSp">
        <pc:chgData name="David Stevens" userId="73fe415a-d21a-4898-bfab-0e75d37181d7" providerId="ADAL" clId="{A55558DF-111D-4D77-9A1C-537E622CF8A6}" dt="2019-01-02T07:39:15.337" v="314"/>
        <pc:sldMkLst>
          <pc:docMk/>
          <pc:sldMk cId="2452756145" sldId="361"/>
        </pc:sldMkLst>
        <pc:spChg chg="mod">
          <ac:chgData name="David Stevens" userId="73fe415a-d21a-4898-bfab-0e75d37181d7" providerId="ADAL" clId="{A55558DF-111D-4D77-9A1C-537E622CF8A6}" dt="2018-09-05T06:52:37.035" v="301" actId="404"/>
          <ac:spMkLst>
            <pc:docMk/>
            <pc:sldMk cId="2452756145" sldId="361"/>
            <ac:spMk id="3" creationId="{00000000-0000-0000-0000-000000000000}"/>
          </ac:spMkLst>
        </pc:spChg>
        <pc:grpChg chg="add">
          <ac:chgData name="David Stevens" userId="73fe415a-d21a-4898-bfab-0e75d37181d7" providerId="ADAL" clId="{A55558DF-111D-4D77-9A1C-537E622CF8A6}" dt="2019-01-02T07:39:15.337" v="314"/>
          <ac:grpSpMkLst>
            <pc:docMk/>
            <pc:sldMk cId="2452756145" sldId="361"/>
            <ac:grpSpMk id="9" creationId="{1A4C4365-A03D-4DE7-B62D-6058EC35DBD2}"/>
          </ac:grpSpMkLst>
        </pc:grpChg>
      </pc:sldChg>
      <pc:sldChg chg="add del">
        <pc:chgData name="David Stevens" userId="73fe415a-d21a-4898-bfab-0e75d37181d7" providerId="ADAL" clId="{A55558DF-111D-4D77-9A1C-537E622CF8A6}" dt="2019-02-15T14:59:37.945" v="493"/>
        <pc:sldMkLst>
          <pc:docMk/>
          <pc:sldMk cId="2157774516" sldId="373"/>
        </pc:sldMkLst>
      </pc:sldChg>
      <pc:sldChg chg="add del">
        <pc:chgData name="David Stevens" userId="73fe415a-d21a-4898-bfab-0e75d37181d7" providerId="ADAL" clId="{A55558DF-111D-4D77-9A1C-537E622CF8A6}" dt="2019-02-15T14:59:37.945" v="493"/>
        <pc:sldMkLst>
          <pc:docMk/>
          <pc:sldMk cId="3846327026" sldId="374"/>
        </pc:sldMkLst>
      </pc:sldChg>
    </pc:docChg>
  </pc:docChgLst>
  <pc:docChgLst>
    <pc:chgData name="Stevens, David" userId="ac0626e3-72c9-46ef-be9c-68c7f11863b4" providerId="ADAL" clId="{5AA691EA-3469-43F6-9A74-4A3D7CA75735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2/15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2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roadmap’s such as the “DXC innovation agenda”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2E8FF-3D0C-9D4D-B4D1-308921595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82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February 15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February 15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February 15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46D9B5-EE5B-461D-8DD5-E780D6C43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5049" y="-1"/>
            <a:ext cx="11655352" cy="8229600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3D00227A-FCE5-4C90-8598-4398E14BD07B}"/>
              </a:ext>
            </a:extLst>
          </p:cNvPr>
          <p:cNvSpPr>
            <a:spLocks noChangeAspect="1"/>
          </p:cNvSpPr>
          <p:nvPr userDrawn="1"/>
        </p:nvSpPr>
        <p:spPr bwMode="hidden">
          <a:xfrm>
            <a:off x="-1568" y="1"/>
            <a:ext cx="8303762" cy="8229600"/>
          </a:xfrm>
          <a:custGeom>
            <a:avLst/>
            <a:gdLst>
              <a:gd name="connsiteX0" fmla="*/ 0 w 13880700"/>
              <a:gd name="connsiteY0" fmla="*/ 0 h 13806941"/>
              <a:gd name="connsiteX1" fmla="*/ 6983768 w 13880700"/>
              <a:gd name="connsiteY1" fmla="*/ 0 h 13806941"/>
              <a:gd name="connsiteX2" fmla="*/ 13880700 w 13880700"/>
              <a:gd name="connsiteY2" fmla="*/ 6893251 h 13806941"/>
              <a:gd name="connsiteX3" fmla="*/ 6983768 w 13880700"/>
              <a:gd name="connsiteY3" fmla="*/ 13806941 h 13806941"/>
              <a:gd name="connsiteX4" fmla="*/ 0 w 13880700"/>
              <a:gd name="connsiteY4" fmla="*/ 13806941 h 1380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700" h="13806941">
                <a:moveTo>
                  <a:pt x="0" y="0"/>
                </a:moveTo>
                <a:lnTo>
                  <a:pt x="6983768" y="0"/>
                </a:lnTo>
                <a:cubicBezTo>
                  <a:pt x="10806594" y="0"/>
                  <a:pt x="13880700" y="3045499"/>
                  <a:pt x="13880700" y="6893251"/>
                </a:cubicBezTo>
                <a:cubicBezTo>
                  <a:pt x="13880700" y="10758888"/>
                  <a:pt x="10806594" y="13806941"/>
                  <a:pt x="6983768" y="13806941"/>
                </a:cubicBezTo>
                <a:lnTo>
                  <a:pt x="0" y="13806941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768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074840"/>
            <a:ext cx="68580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session title her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824197"/>
            <a:ext cx="6858000" cy="662203"/>
          </a:xfrm>
        </p:spPr>
        <p:txBody>
          <a:bodyPr>
            <a:noAutofit/>
          </a:bodyPr>
          <a:lstStyle>
            <a:lvl1pPr marL="0" indent="0" algn="l">
              <a:spcBef>
                <a:spcPts val="120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speaker name here</a:t>
            </a:r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2A7B0FDF-BC58-414A-8AAC-3B176242203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3DC4A21B-A3B7-4535-89AB-D180D8D5FD35}"/>
              </a:ext>
            </a:extLst>
          </p:cNvPr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C352BD-2464-4B6E-9C77-D29B31BC99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6739333"/>
            <a:ext cx="3160262" cy="897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D15-3463-4931-AE12-2BCC2AEC3138}"/>
              </a:ext>
            </a:extLst>
          </p:cNvPr>
          <p:cNvSpPr txBox="1"/>
          <p:nvPr userDrawn="1"/>
        </p:nvSpPr>
        <p:spPr>
          <a:xfrm>
            <a:off x="667328" y="5739190"/>
            <a:ext cx="61121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echCom24 2019: Building Digital Muscle</a:t>
            </a:r>
          </a:p>
        </p:txBody>
      </p:sp>
    </p:spTree>
    <p:extLst>
      <p:ext uri="{BB962C8B-B14F-4D97-AF65-F5344CB8AC3E}">
        <p14:creationId xmlns:p14="http://schemas.microsoft.com/office/powerpoint/2010/main" val="30558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5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5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61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18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384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14578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4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9760A60-B77A-4E3E-818A-8DC6893B6C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4630398" cy="8229599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68274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February 15, 2019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015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531900" y="2726171"/>
            <a:ext cx="9566600" cy="2717182"/>
          </a:xfrm>
          <a:prstGeom prst="rect">
            <a:avLst/>
          </a:prstGeom>
        </p:spPr>
      </p:pic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7610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February 15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February 15, 2019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18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70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igitalexplorer.dxc.com/de/technology" TargetMode="External"/><Relationship Id="rId2" Type="http://schemas.openxmlformats.org/officeDocument/2006/relationships/hyperlink" Target="https://digitalexplorer.dxc.com/de/industry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digitalexplorer.dxc.com/de/stats/business/3986/industry-use-cases" TargetMode="External"/><Relationship Id="rId5" Type="http://schemas.openxmlformats.org/officeDocument/2006/relationships/hyperlink" Target="https://digitalexplorer.dxc.com/de/stories" TargetMode="External"/><Relationship Id="rId4" Type="http://schemas.openxmlformats.org/officeDocument/2006/relationships/hyperlink" Target="https://digitalexplorer.dxc.com/de/collaboration/mai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video.dxc.com/channel/Digital+Explorer" TargetMode="External"/><Relationship Id="rId2" Type="http://schemas.openxmlformats.org/officeDocument/2006/relationships/hyperlink" Target="https://digitalexplorer.dxc.com/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dxc.com/ArchitectureOffice/DigitalExplorer" TargetMode="External"/><Relationship Id="rId4" Type="http://schemas.openxmlformats.org/officeDocument/2006/relationships/hyperlink" Target="https://dxc.facebook.com/groups/194457716247345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  <a:br>
              <a:rPr lang="en-GB" dirty="0"/>
            </a:br>
            <a:endParaRPr lang="en-GB" sz="1100" dirty="0"/>
          </a:p>
          <a:p>
            <a:r>
              <a:rPr lang="en-GB" b="0" dirty="0"/>
              <a:t>David Stevens</a:t>
            </a:r>
          </a:p>
          <a:p>
            <a:r>
              <a:rPr lang="en-GB" sz="1400" b="0" dirty="0"/>
              <a:t>DXC Distinguished Architect</a:t>
            </a:r>
            <a:br>
              <a:rPr lang="en-GB" sz="1400" b="0" dirty="0"/>
            </a:br>
            <a:r>
              <a:rPr lang="en-GB" sz="1400" b="0" dirty="0"/>
              <a:t>Digital Explorer Product Owner &amp; Architect </a:t>
            </a:r>
            <a:br>
              <a:rPr lang="en-GB" sz="1400" b="0" dirty="0"/>
            </a:br>
            <a:r>
              <a:rPr lang="en-GB" sz="1400" b="0" dirty="0"/>
              <a:t>davidstevens@dxc.com</a:t>
            </a:r>
            <a:endParaRPr lang="en-GB" sz="2400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4365-A03D-4DE7-B62D-6058EC35DBD2}"/>
              </a:ext>
            </a:extLst>
          </p:cNvPr>
          <p:cNvGrpSpPr/>
          <p:nvPr/>
        </p:nvGrpSpPr>
        <p:grpSpPr>
          <a:xfrm>
            <a:off x="12542097" y="5546106"/>
            <a:ext cx="871090" cy="797592"/>
            <a:chOff x="1921047" y="2009393"/>
            <a:chExt cx="3929255" cy="359772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C8119A6-0B4B-486E-8B0B-72EEB1CF8DCF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041815" y="3371315"/>
              <a:ext cx="1001804" cy="2314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E18F056-8D51-4AE3-96F2-BFF31D4346BC}"/>
                </a:ext>
              </a:extLst>
            </p:cNvPr>
            <p:cNvCxnSpPr>
              <a:cxnSpLocks/>
            </p:cNvCxnSpPr>
            <p:nvPr/>
          </p:nvCxnSpPr>
          <p:spPr>
            <a:xfrm rot="2248319" flipV="1">
              <a:off x="2398973" y="4215060"/>
              <a:ext cx="1021929" cy="1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92F7FE9-FE04-49FD-B58F-8973077AB157}"/>
                </a:ext>
              </a:extLst>
            </p:cNvPr>
            <p:cNvCxnSpPr>
              <a:cxnSpLocks/>
            </p:cNvCxnSpPr>
            <p:nvPr/>
          </p:nvCxnSpPr>
          <p:spPr>
            <a:xfrm rot="2248319" flipH="1" flipV="1">
              <a:off x="3629328" y="3600560"/>
              <a:ext cx="10894" cy="1019415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F49BF1-F9FE-4C9A-961B-AF19BC976FA4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3197930" y="2233395"/>
              <a:ext cx="744193" cy="96309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8EF03DD-3233-4DB0-9A49-0E90231B7FA2}"/>
                </a:ext>
              </a:extLst>
            </p:cNvPr>
            <p:cNvSpPr/>
            <p:nvPr/>
          </p:nvSpPr>
          <p:spPr>
            <a:xfrm rot="2248319">
              <a:off x="2891462" y="4103698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58A34A6-DDC4-45A9-96B9-4A6099681D28}"/>
                </a:ext>
              </a:extLst>
            </p:cNvPr>
            <p:cNvSpPr/>
            <p:nvPr/>
          </p:nvSpPr>
          <p:spPr>
            <a:xfrm rot="2248319">
              <a:off x="4471581" y="2972869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BEB307-E2FE-4D0E-B37F-C56928AFB540}"/>
                </a:ext>
              </a:extLst>
            </p:cNvPr>
            <p:cNvSpPr/>
            <p:nvPr/>
          </p:nvSpPr>
          <p:spPr>
            <a:xfrm rot="2248319">
              <a:off x="4106925" y="405084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3A4F6C4-ED1C-49E6-8CE5-46D3786B030D}"/>
                </a:ext>
              </a:extLst>
            </p:cNvPr>
            <p:cNvSpPr/>
            <p:nvPr/>
          </p:nvSpPr>
          <p:spPr>
            <a:xfrm rot="2248319">
              <a:off x="2983156" y="3505997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D83001-5406-4316-AA91-678E14505FC6}"/>
                </a:ext>
              </a:extLst>
            </p:cNvPr>
            <p:cNvSpPr/>
            <p:nvPr/>
          </p:nvSpPr>
          <p:spPr>
            <a:xfrm rot="2248319">
              <a:off x="3265335" y="2009393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2D8B940-00FD-443A-BABC-958CEB6FD084}"/>
                </a:ext>
              </a:extLst>
            </p:cNvPr>
            <p:cNvSpPr/>
            <p:nvPr/>
          </p:nvSpPr>
          <p:spPr>
            <a:xfrm rot="2248319">
              <a:off x="4822564" y="4649470"/>
              <a:ext cx="433106" cy="433106"/>
            </a:xfrm>
            <a:prstGeom prst="ellipse">
              <a:avLst/>
            </a:prstGeom>
            <a:solidFill>
              <a:schemeClr val="accent3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7118B99-5135-4062-8571-F15D5FA754F1}"/>
                </a:ext>
              </a:extLst>
            </p:cNvPr>
            <p:cNvCxnSpPr>
              <a:cxnSpLocks/>
            </p:cNvCxnSpPr>
            <p:nvPr/>
          </p:nvCxnSpPr>
          <p:spPr>
            <a:xfrm>
              <a:off x="4682605" y="3215261"/>
              <a:ext cx="377599" cy="1712581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D6FB0-9007-4D63-9008-59F29A3BC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9117" y="3468335"/>
              <a:ext cx="377917" cy="1387074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2178C93-1163-4602-9D53-128598029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2775" y="4298273"/>
              <a:ext cx="135921" cy="892483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BA522E8-ED39-4F6C-88E4-1510E8B93BBE}"/>
                </a:ext>
              </a:extLst>
            </p:cNvPr>
            <p:cNvCxnSpPr>
              <a:cxnSpLocks/>
            </p:cNvCxnSpPr>
            <p:nvPr/>
          </p:nvCxnSpPr>
          <p:spPr>
            <a:xfrm>
              <a:off x="3256205" y="3774781"/>
              <a:ext cx="1058672" cy="508228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98162D-BCCC-48C5-A5D6-ED5D929B83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34131" y="3719338"/>
              <a:ext cx="863960" cy="1889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A44DF6D-93F8-4D7C-868D-2DBCA7F897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174" y="2225947"/>
              <a:ext cx="527590" cy="753706"/>
            </a:xfrm>
            <a:prstGeom prst="line">
              <a:avLst/>
            </a:prstGeom>
            <a:solidFill>
              <a:schemeClr val="accent3"/>
            </a:solidFill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AD084DA-7989-4B03-B26D-EFBDB53967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86689" y="2502476"/>
              <a:ext cx="504958" cy="694162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5292A4F0-1A24-4C2F-8C9F-61CBBD289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50346" y="3189423"/>
              <a:ext cx="783590" cy="267001"/>
            </a:xfrm>
            <a:prstGeom prst="line">
              <a:avLst/>
            </a:prstGeom>
            <a:noFill/>
            <a:ln w="12700" cap="sq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FED52B8-D83F-4314-908F-464CCA6E7B17}"/>
                </a:ext>
              </a:extLst>
            </p:cNvPr>
            <p:cNvSpPr/>
            <p:nvPr/>
          </p:nvSpPr>
          <p:spPr>
            <a:xfrm rot="2248319">
              <a:off x="2548891" y="2540775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02631EB-7ACE-45FA-86D6-6E4041B12EC2}"/>
                </a:ext>
              </a:extLst>
            </p:cNvPr>
            <p:cNvSpPr/>
            <p:nvPr/>
          </p:nvSpPr>
          <p:spPr>
            <a:xfrm rot="2248319">
              <a:off x="1921047" y="3359826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46FF4E6-AFFF-414D-97F2-431C6EB188D6}"/>
                </a:ext>
              </a:extLst>
            </p:cNvPr>
            <p:cNvSpPr/>
            <p:nvPr/>
          </p:nvSpPr>
          <p:spPr>
            <a:xfrm rot="2248319">
              <a:off x="3517009" y="3282887"/>
              <a:ext cx="832731" cy="83273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2D0D33-DC5D-4869-852B-8E378B1E3F33}"/>
                </a:ext>
              </a:extLst>
            </p:cNvPr>
            <p:cNvSpPr/>
            <p:nvPr/>
          </p:nvSpPr>
          <p:spPr>
            <a:xfrm rot="2248319">
              <a:off x="5017571" y="305197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2450D3C-CBE6-4E6A-9440-1CDDBFF73997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815385" y="2545326"/>
              <a:ext cx="528599" cy="1166483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9012AF3-072C-40D8-86CA-ABE7D9F8270E}"/>
                </a:ext>
              </a:extLst>
            </p:cNvPr>
            <p:cNvSpPr/>
            <p:nvPr/>
          </p:nvSpPr>
          <p:spPr>
            <a:xfrm rot="2248319">
              <a:off x="3809930" y="2126252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789E338-E619-43CB-B469-B14026F2AC5C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3184461" y="4855409"/>
              <a:ext cx="1121681" cy="0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C3B7B3B-9B3D-4262-9DF3-5B710B1068B9}"/>
                </a:ext>
              </a:extLst>
            </p:cNvPr>
            <p:cNvSpPr/>
            <p:nvPr/>
          </p:nvSpPr>
          <p:spPr>
            <a:xfrm rot="2248319">
              <a:off x="3766410" y="4774390"/>
              <a:ext cx="832731" cy="832731"/>
            </a:xfrm>
            <a:prstGeom prst="ellipse">
              <a:avLst/>
            </a:prstGeom>
            <a:solidFill>
              <a:sysClr val="windowText" lastClr="000000"/>
            </a:solidFill>
            <a:ln w="28575">
              <a:noFill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823A456-3800-4B1F-AF7E-0362AD237E7E}"/>
                </a:ext>
              </a:extLst>
            </p:cNvPr>
            <p:cNvCxnSpPr>
              <a:cxnSpLocks/>
            </p:cNvCxnSpPr>
            <p:nvPr/>
          </p:nvCxnSpPr>
          <p:spPr>
            <a:xfrm rot="2248319" flipH="1">
              <a:off x="4188701" y="3073759"/>
              <a:ext cx="1017209" cy="1039076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7E2523-E7A9-4D91-BD6A-282EEACE9251}"/>
                </a:ext>
              </a:extLst>
            </p:cNvPr>
            <p:cNvCxnSpPr>
              <a:cxnSpLocks/>
            </p:cNvCxnSpPr>
            <p:nvPr/>
          </p:nvCxnSpPr>
          <p:spPr>
            <a:xfrm rot="2248319">
              <a:off x="4655080" y="3564669"/>
              <a:ext cx="34841" cy="1793987"/>
            </a:xfrm>
            <a:prstGeom prst="line">
              <a:avLst/>
            </a:prstGeom>
            <a:noFill/>
            <a:ln w="28575" cap="sq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23F8E5-BD6F-417F-82B8-14FF7F1C38E3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Understand : </a:t>
            </a:r>
            <a:br>
              <a:rPr lang="en-GB" dirty="0"/>
            </a:br>
            <a:r>
              <a:rPr lang="en-GB" sz="3600" dirty="0"/>
              <a:t>Industry and Technology tre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GB" dirty="0"/>
              <a:t>Industry and technology trends presented in a consistent way:</a:t>
            </a:r>
          </a:p>
          <a:p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dustry &gt; Sub Industry &gt; Business Area &gt; Tre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rends mapped against the XTECH timeline </a:t>
            </a:r>
            <a:br>
              <a:rPr lang="en-GB" dirty="0"/>
            </a:br>
            <a:r>
              <a:rPr lang="en-GB" sz="1400" b="0" dirty="0"/>
              <a:t>(R&amp;D, leading edge, early</a:t>
            </a:r>
            <a:r>
              <a:rPr lang="en-GB" sz="1400" b="0" dirty="0">
                <a:sym typeface="Wingdings" panose="05000000000000000000" pitchFamily="2" charset="2"/>
              </a:rPr>
              <a:t> adopters</a:t>
            </a:r>
            <a:r>
              <a:rPr lang="en-GB" sz="1400" b="0" dirty="0"/>
              <a:t>, mainstream, </a:t>
            </a:r>
            <a:r>
              <a:rPr lang="en-GB" sz="1400" b="0" dirty="0">
                <a:sym typeface="Wingdings" panose="05000000000000000000" pitchFamily="2" charset="2"/>
              </a:rPr>
              <a:t>late adopters)</a:t>
            </a:r>
            <a:endParaRPr lang="en-GB" sz="1800" b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Understand cross industry 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Ability to search for potential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en collaboration module for all DXC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ym typeface="Wingdings" panose="05000000000000000000" pitchFamily="2" charset="2"/>
              </a:rPr>
              <a:t>Option to export to PDF</a:t>
            </a:r>
          </a:p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586D8E-1FA3-4A2D-9693-E7C01E8149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232" y="217538"/>
            <a:ext cx="6696744" cy="36797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BEA65F-A076-43BF-9C2A-E6FDBE129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3232" y="4042791"/>
            <a:ext cx="6696744" cy="385062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765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rends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29184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733007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8949566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1576227">
                  <a:extLst>
                    <a:ext uri="{9D8B030D-6E8A-4147-A177-3AD203B41FA5}">
                      <a16:colId xmlns:a16="http://schemas.microsoft.com/office/drawing/2014/main" val="1088386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Industr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industry use cases mapped out against a maturity model, grouped by a set of common areas across all industries - ability to build cross relationships between indust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2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Technology Tren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Key technology trends mapped out against a maturity model - grouped by technology area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>
                          <a:solidFill>
                            <a:srgbClr val="0366D6"/>
                          </a:solidFill>
                          <a:effectLst/>
                          <a:hlinkClick r:id="rId3"/>
                        </a:rPr>
                        <a:t>Link</a:t>
                      </a:r>
                      <a:endParaRPr lang="en-GB" sz="1600" b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Open collabora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Add/edit trends is open to all DXC employe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effectLst/>
                        </a:rPr>
                        <a:t>Digital Stor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Quick links and highlights from within Digital Explorer and external sources (key trends, showcase solutions, relevant paper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u="none" strike="noStrike" dirty="0">
                          <a:solidFill>
                            <a:srgbClr val="0366D6"/>
                          </a:solidFill>
                          <a:effectLst/>
                          <a:hlinkClick r:id="rId5"/>
                        </a:rPr>
                        <a:t>Link</a:t>
                      </a:r>
                      <a:endParaRPr lang="en-GB" sz="1600" b="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Trend on a page view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</a:rPr>
                        <a:t>Consolidated view of a single trend - industry use cases, demand curve, solutions, contributions (trends and solution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>
                          <a:hlinkClick r:id="rId6"/>
                        </a:rPr>
                        <a:t>Example Link</a:t>
                      </a:r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st, 5th and 10th Trends, industry and technology achievements</a:t>
                      </a:r>
                      <a:endParaRPr lang="en-US" sz="1400" b="1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b="0" dirty="0"/>
                    </a:p>
                  </a:txBody>
                  <a:tcPr marL="77251" marR="772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5762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64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0751D29-8F54-48CA-9E93-C33A1A76C8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A47E13A-1B4E-46C6-BB01-D537512A5D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9944" y="106298"/>
            <a:ext cx="6905711" cy="38121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Roadmap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nvas to shape and create account </a:t>
            </a:r>
            <a:r>
              <a:rPr lang="en-GB" u="sng" dirty="0"/>
              <a:t>Digital Roadmaps (T-Maps, Innovation Agenda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Leverage industry and technology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ntify client and DXC focus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scover matching DXC Solutions and Reference Architectu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olidate and report across all accounts</a:t>
            </a:r>
          </a:p>
          <a:p>
            <a:pPr marL="536575" lvl="1" indent="-273050">
              <a:buFont typeface="Arial" panose="020B0604020202020204" pitchFamily="34" charset="0"/>
              <a:buChar char="•"/>
            </a:pPr>
            <a:r>
              <a:rPr lang="en-GB" dirty="0"/>
              <a:t>In the application or export to your own reporting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5289D3-9854-4830-8727-558B7B203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208" y="4834880"/>
            <a:ext cx="5895210" cy="3288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B7A073-AB5A-4E43-B91B-57620DA36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344" y="2263197"/>
            <a:ext cx="6529684" cy="40130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552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maps : Key feat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508762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376619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  <a:gridCol w="9492606">
                  <a:extLst>
                    <a:ext uri="{9D8B030D-6E8A-4147-A177-3AD203B41FA5}">
                      <a16:colId xmlns:a16="http://schemas.microsoft.com/office/drawing/2014/main" val="9865709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Internal Programs and group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reate internal groups to assign accounts - track progress of the creation of the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8935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dustry template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llow users to create and re-use any available templates for their client innovation agend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1815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Client Strategic goa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Capture client strategic goals as they relate to the innovation agenda (</a:t>
                      </a:r>
                      <a:r>
                        <a:rPr lang="en-US" sz="1400" b="0" dirty="0" err="1">
                          <a:effectLst/>
                        </a:rPr>
                        <a:t>incs</a:t>
                      </a:r>
                      <a:r>
                        <a:rPr lang="en-US" sz="1400" b="0" dirty="0">
                          <a:effectLst/>
                        </a:rPr>
                        <a:t> KPI'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Client disruptors, focus areas, risk and innovation level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Ability to capture key information about each entry within the Sunray diagram and how they impact the client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dirty="0">
                          <a:effectLst/>
                        </a:rPr>
                        <a:t>Recommendation engin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Smart look-up for similar disruptors from all other innovation agendas - filter by industry or region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Innovation Sunray diagra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active creation and presentation of the innovation sunray diagram (sometime referred to as the T-Map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ccount focus area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Final output of the innovation agenda - selection of focus disruptors and the definition of the account's strategic initiatives (planned connect the related client goals as well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36081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DXC Solution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Dynamic list of available DXC solution based on the disruptors within the innovation agenda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7122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Export to PDF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>
                          <a:effectLst/>
                        </a:rPr>
                        <a:t>Export innovation agenda to PDF file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091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>
                          <a:effectLst/>
                        </a:rPr>
                        <a:t>Agenda Insigh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Heatmap reports across all Agendas (group by region or industry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080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3 achievements available (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roadmap, helping hands (create a template), taking the next steps (capture ideas)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137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0" i="1" dirty="0">
                          <a:effectLst/>
                        </a:rPr>
                        <a:t>Role : Agenda Manager</a:t>
                      </a:r>
                      <a:endParaRPr lang="en-GB" sz="1400" b="0" dirty="0">
                        <a:effectLst/>
                      </a:endParaRP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effectLst/>
                        </a:rPr>
                        <a:t>Internal role - assign people to accounts, create internal program groups and review all agendas within the system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34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5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00F67B1-D133-4583-84F6-991ECDC9E542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e : </a:t>
            </a:r>
            <a:br>
              <a:rPr lang="en-GB" dirty="0"/>
            </a:br>
            <a:r>
              <a:rPr lang="en-GB" dirty="0"/>
              <a:t>Workspaces</a:t>
            </a:r>
            <a:endParaRPr lang="en-GB" sz="36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llaborate  and build project or engagement workspaces leveraging content from across the Digital Explorer plat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 notes and 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hare and invite your team </a:t>
            </a:r>
          </a:p>
          <a:p>
            <a:pPr lvl="1"/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70638E-037E-4EBA-8E96-6480BCA75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6440" y="2280761"/>
            <a:ext cx="6681888" cy="36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7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49853D-629F-4214-81B0-37A1DD8F8B9B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Digital Explorer | Solu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del aligned to Archimate 2.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ach solution presented against a common datasheet and taxonomy: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Model based represent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Architecture view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upports Reference Architectures and Solution definitio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Build connections to the business and technology tre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Define solutions from a library of existing </a:t>
            </a:r>
            <a:r>
              <a:rPr lang="en-GB" b="1" i="1" dirty="0"/>
              <a:t>feat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clude documentation &amp; medi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olution Contac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Industry and offering family information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80810-82E8-411E-A1CD-D3D23C24A5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5320" y="254921"/>
            <a:ext cx="6101896" cy="32066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F765C6-1D58-4F43-BC3F-71AA546AF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16" y="1868552"/>
            <a:ext cx="6753487" cy="3816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686A89-EBBF-4680-9F78-F02DC92F3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0128" y="4528775"/>
            <a:ext cx="6307088" cy="344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434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7DB99-8890-475C-8549-1850515B1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lution : Key features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1650A5-184F-48C7-B41F-0F16049CF36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2057400"/>
          <a:ext cx="13258800" cy="40792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52936">
                  <a:extLst>
                    <a:ext uri="{9D8B030D-6E8A-4147-A177-3AD203B41FA5}">
                      <a16:colId xmlns:a16="http://schemas.microsoft.com/office/drawing/2014/main" val="1752039824"/>
                    </a:ext>
                  </a:extLst>
                </a:gridCol>
                <a:gridCol w="10805864">
                  <a:extLst>
                    <a:ext uri="{9D8B030D-6E8A-4147-A177-3AD203B41FA5}">
                      <a16:colId xmlns:a16="http://schemas.microsoft.com/office/drawing/2014/main" val="9733203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>
                          <a:effectLst/>
                        </a:rPr>
                        <a:t>Solution Typ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effectLst/>
                        </a:rPr>
                        <a:t>Ability to create various types of solutions (demos, prototypes, pilot, labs, production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016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Business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Highest level within the solution model, smart look-up into "trends" (business and technology) and option to create new motivation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443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DXC Offering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DXC offerings (sub-offering level)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934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Partner capabiliti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partner capabilities are part of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48662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method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which methods were used to develop/deliver the solution (e.g. Agile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9461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Other Featur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Ability to specify any other features within the solution (e.g. datasets, opensource components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2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Role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Define the team and their roles within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838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effectLst/>
                        </a:rPr>
                        <a:t>media and attachment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Option to add any supporting media to the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599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effectLst/>
                        </a:rPr>
                        <a:t>Tags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Free form tags to allow users to group or identify solutions (e.g. "Tech Excellence Winners 2018")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504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dirty="0">
                          <a:effectLst/>
                        </a:rPr>
                        <a:t>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effectLst/>
                        </a:rPr>
                        <a:t>Various Achievements available; 1</a:t>
                      </a:r>
                      <a:r>
                        <a:rPr lang="en-US" sz="1400" b="1" baseline="30000" dirty="0">
                          <a:effectLst/>
                        </a:rPr>
                        <a:t>st</a:t>
                      </a:r>
                      <a:r>
                        <a:rPr lang="en-US" sz="1400" b="1" dirty="0">
                          <a:effectLst/>
                        </a:rPr>
                        <a:t> Solution, industry achievements, partner achievements, innovator achievements</a:t>
                      </a:r>
                    </a:p>
                  </a:txBody>
                  <a:tcPr marL="105215" marR="105215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1571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>
                          <a:effectLst/>
                        </a:rPr>
                        <a:t>Role : Solution Reviewer</a:t>
                      </a:r>
                      <a:endParaRPr lang="en-GB" sz="1200" dirty="0">
                        <a:effectLst/>
                      </a:endParaRPr>
                    </a:p>
                  </a:txBody>
                  <a:tcPr marL="104611" marR="104611" marT="57150" marB="571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Internal Role - data quality reports and ability to edit any solution</a:t>
                      </a:r>
                    </a:p>
                  </a:txBody>
                  <a:tcPr marL="104611" marR="104611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8432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3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7130418-9500-4D70-931E-EBF01D6AD376}"/>
              </a:ext>
            </a:extLst>
          </p:cNvPr>
          <p:cNvSpPr/>
          <p:nvPr/>
        </p:nvSpPr>
        <p:spPr>
          <a:xfrm>
            <a:off x="7304368" y="0"/>
            <a:ext cx="7326032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ore : Graph Explor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Visually rich application to view trend and solution inform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relationships between solutions, trends and industries </a:t>
            </a:r>
            <a:r>
              <a:rPr lang="en-GB" baseline="30000" dirty="0"/>
              <a:t>(1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Show disruptor information across industries</a:t>
            </a:r>
            <a:r>
              <a:rPr lang="en-GB" baseline="30000" dirty="0"/>
              <a:t> (2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Group by industry, technology groups or offerings famil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Understand the depth of knowledge of our people </a:t>
            </a:r>
            <a:r>
              <a:rPr lang="en-GB" baseline="30000" dirty="0"/>
              <a:t>(3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View the most connected trends </a:t>
            </a:r>
            <a:endParaRPr lang="en-GB" baseline="30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224" y="129026"/>
            <a:ext cx="5677666" cy="3193686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7639583" y="327815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7FEA4A-DB66-4362-A654-5615107B92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35" t="14276" r="20922" b="13310"/>
          <a:stretch/>
        </p:blipFill>
        <p:spPr>
          <a:xfrm>
            <a:off x="8452567" y="2379648"/>
            <a:ext cx="5792729" cy="394391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8" name="Oval 17"/>
          <p:cNvSpPr/>
          <p:nvPr/>
        </p:nvSpPr>
        <p:spPr>
          <a:xfrm>
            <a:off x="13733125" y="2536960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B8FFCF-1131-49CB-90A3-C4279F991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9603" y="4623022"/>
            <a:ext cx="6201689" cy="3407699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>
          <a:xfrm>
            <a:off x="7979029" y="4880857"/>
            <a:ext cx="360040" cy="360040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864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8DD4F-A9C0-45C2-9F53-AF89C4304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CAD7D8-B132-4405-9224-1CC95307D6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DXC Digital Explorer Site</a:t>
            </a:r>
            <a:endParaRPr lang="en-GB" sz="2800" dirty="0"/>
          </a:p>
          <a:p>
            <a:r>
              <a:rPr lang="en-GB" sz="2800" dirty="0">
                <a:hlinkClick r:id="rId3"/>
              </a:rPr>
              <a:t>DXC Digital Explorer TV </a:t>
            </a:r>
            <a:r>
              <a:rPr lang="en-GB" sz="2800" dirty="0"/>
              <a:t>– overview, training and release videos</a:t>
            </a:r>
          </a:p>
          <a:p>
            <a:r>
              <a:rPr lang="en-GB" sz="2800" dirty="0">
                <a:hlinkClick r:id="rId4"/>
              </a:rPr>
              <a:t>DXC Workplace group</a:t>
            </a:r>
            <a:r>
              <a:rPr lang="en-GB" sz="2800" dirty="0"/>
              <a:t> – general discussions</a:t>
            </a:r>
          </a:p>
          <a:p>
            <a:r>
              <a:rPr lang="en-GB" sz="2800" dirty="0">
                <a:hlinkClick r:id="rId5"/>
              </a:rPr>
              <a:t>DXC GitHub </a:t>
            </a:r>
            <a:r>
              <a:rPr lang="en-GB" sz="2800" dirty="0"/>
              <a:t>– issues and enhancement requests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6399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E2D88B88-EB87-450B-9B8B-2468F02D6EAD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83" name="Freeform 74">
              <a:extLst>
                <a:ext uri="{FF2B5EF4-FFF2-40B4-BE49-F238E27FC236}">
                  <a16:creationId xmlns:a16="http://schemas.microsoft.com/office/drawing/2014/main" id="{3AEF8C74-EB68-4B88-9C22-AA4C03B7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:a16="http://schemas.microsoft.com/office/drawing/2014/main" id="{3280DDCB-2F60-4BDC-B66E-7482245E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Oval 76">
              <a:extLst>
                <a:ext uri="{FF2B5EF4-FFF2-40B4-BE49-F238E27FC236}">
                  <a16:creationId xmlns:a16="http://schemas.microsoft.com/office/drawing/2014/main" id="{504758E2-D5B9-4780-976D-70073375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Freeform 58">
            <a:extLst>
              <a:ext uri="{FF2B5EF4-FFF2-40B4-BE49-F238E27FC236}">
                <a16:creationId xmlns:a16="http://schemas.microsoft.com/office/drawing/2014/main" id="{E74ABD01-0570-456D-A8E8-45DF7A6B7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8910A1-8F2F-4EC2-A201-919A6CFD347F}"/>
              </a:ext>
            </a:extLst>
          </p:cNvPr>
          <p:cNvGrpSpPr/>
          <p:nvPr/>
        </p:nvGrpSpPr>
        <p:grpSpPr>
          <a:xfrm>
            <a:off x="10151202" y="3570522"/>
            <a:ext cx="4201433" cy="3100370"/>
            <a:chOff x="10151202" y="4002571"/>
            <a:chExt cx="4201433" cy="310037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FA3ECA2-367C-45D5-8E97-02A886B9CC58}"/>
                </a:ext>
              </a:extLst>
            </p:cNvPr>
            <p:cNvGrpSpPr/>
            <p:nvPr/>
          </p:nvGrpSpPr>
          <p:grpSpPr>
            <a:xfrm>
              <a:off x="11615659" y="4002571"/>
              <a:ext cx="2736976" cy="3100370"/>
              <a:chOff x="11615659" y="4002571"/>
              <a:chExt cx="2736976" cy="310037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11615659" y="4435400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olution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786453" y="615847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97357" y="61071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7230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08360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4575040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5980168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41094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4606234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187708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9EAFB27-0CFC-4B73-95E1-2FCB76355124}"/>
              </a:ext>
            </a:extLst>
          </p:cNvPr>
          <p:cNvGrpSpPr/>
          <p:nvPr/>
        </p:nvGrpSpPr>
        <p:grpSpPr>
          <a:xfrm>
            <a:off x="2394053" y="4569219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047557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419004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9F6E1-B8F5-4039-B96D-710A2CF7A21C}"/>
              </a:ext>
            </a:extLst>
          </p:cNvPr>
          <p:cNvGrpSpPr/>
          <p:nvPr/>
        </p:nvGrpSpPr>
        <p:grpSpPr>
          <a:xfrm>
            <a:off x="3550072" y="3853351"/>
            <a:ext cx="3732943" cy="2636278"/>
            <a:chOff x="3550072" y="4285400"/>
            <a:chExt cx="3732943" cy="2636278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550072" y="5060276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lue Chain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160688" y="5064332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gital Blueprint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26292" y="4285400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ruptor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815954" y="5799351"/>
              <a:ext cx="1122327" cy="1122327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E4D7428-A9B1-40AF-9A9F-39C4282D2495}"/>
              </a:ext>
            </a:extLst>
          </p:cNvPr>
          <p:cNvGrpSpPr/>
          <p:nvPr/>
        </p:nvGrpSpPr>
        <p:grpSpPr>
          <a:xfrm>
            <a:off x="8191609" y="3364279"/>
            <a:ext cx="2520758" cy="3594267"/>
            <a:chOff x="8191609" y="3796328"/>
            <a:chExt cx="2520758" cy="3594267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191609" y="5051475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9590040" y="379632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erings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9590040" y="62682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s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9590040" y="5031968"/>
              <a:ext cx="1122327" cy="1122327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 CMO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96EF05A-7A56-47C6-8C27-6D7A572EA097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C1782920-7785-4BC6-A082-281E79A73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55B0E42-E1F7-464E-8052-1711A87E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82">
              <a:extLst>
                <a:ext uri="{FF2B5EF4-FFF2-40B4-BE49-F238E27FC236}">
                  <a16:creationId xmlns:a16="http://schemas.microsoft.com/office/drawing/2014/main" id="{CC286DAF-DD95-49A0-8CE8-DCE3D823E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819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58" grpId="0"/>
      <p:bldP spid="51" grpId="0"/>
      <p:bldP spid="5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31975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a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21855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64154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474637" y="63641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63405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387905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gital Blueprint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46304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abler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92B7D2F-D04D-45A7-BD73-28675D3D311F}"/>
              </a:ext>
            </a:extLst>
          </p:cNvPr>
          <p:cNvGrpSpPr/>
          <p:nvPr/>
        </p:nvGrpSpPr>
        <p:grpSpPr>
          <a:xfrm>
            <a:off x="4538069" y="1307084"/>
            <a:ext cx="1825482" cy="1825482"/>
            <a:chOff x="8373533" y="48106486"/>
            <a:chExt cx="822325" cy="822325"/>
          </a:xfrm>
          <a:solidFill>
            <a:schemeClr val="accent5"/>
          </a:solidFill>
        </p:grpSpPr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DEA5EAD1-F637-4219-B3F1-B0766E033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3533" y="48243011"/>
              <a:ext cx="685800" cy="685800"/>
            </a:xfrm>
            <a:custGeom>
              <a:avLst/>
              <a:gdLst>
                <a:gd name="T0" fmla="*/ 480 w 960"/>
                <a:gd name="T1" fmla="*/ 768 h 960"/>
                <a:gd name="T2" fmla="*/ 768 w 960"/>
                <a:gd name="T3" fmla="*/ 480 h 960"/>
                <a:gd name="T4" fmla="*/ 960 w 960"/>
                <a:gd name="T5" fmla="*/ 480 h 960"/>
                <a:gd name="T6" fmla="*/ 480 w 960"/>
                <a:gd name="T7" fmla="*/ 960 h 960"/>
                <a:gd name="T8" fmla="*/ 0 w 960"/>
                <a:gd name="T9" fmla="*/ 480 h 960"/>
                <a:gd name="T10" fmla="*/ 480 w 960"/>
                <a:gd name="T11" fmla="*/ 0 h 960"/>
                <a:gd name="T12" fmla="*/ 480 w 960"/>
                <a:gd name="T13" fmla="*/ 192 h 960"/>
                <a:gd name="T14" fmla="*/ 192 w 960"/>
                <a:gd name="T15" fmla="*/ 480 h 960"/>
                <a:gd name="T16" fmla="*/ 480 w 960"/>
                <a:gd name="T17" fmla="*/ 76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960">
                  <a:moveTo>
                    <a:pt x="480" y="768"/>
                  </a:moveTo>
                  <a:cubicBezTo>
                    <a:pt x="639" y="768"/>
                    <a:pt x="768" y="639"/>
                    <a:pt x="768" y="480"/>
                  </a:cubicBezTo>
                  <a:cubicBezTo>
                    <a:pt x="960" y="480"/>
                    <a:pt x="960" y="480"/>
                    <a:pt x="960" y="480"/>
                  </a:cubicBezTo>
                  <a:cubicBezTo>
                    <a:pt x="960" y="745"/>
                    <a:pt x="745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5"/>
                    <a:pt x="215" y="0"/>
                    <a:pt x="480" y="0"/>
                  </a:cubicBezTo>
                  <a:cubicBezTo>
                    <a:pt x="480" y="192"/>
                    <a:pt x="480" y="192"/>
                    <a:pt x="480" y="192"/>
                  </a:cubicBezTo>
                  <a:cubicBezTo>
                    <a:pt x="321" y="192"/>
                    <a:pt x="192" y="321"/>
                    <a:pt x="192" y="480"/>
                  </a:cubicBezTo>
                  <a:cubicBezTo>
                    <a:pt x="192" y="639"/>
                    <a:pt x="321" y="768"/>
                    <a:pt x="480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082D0C18-6018-43D5-B3E1-C5276EA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2958" y="48106486"/>
              <a:ext cx="342900" cy="342900"/>
            </a:xfrm>
            <a:custGeom>
              <a:avLst/>
              <a:gdLst>
                <a:gd name="T0" fmla="*/ 0 w 480"/>
                <a:gd name="T1" fmla="*/ 0 h 480"/>
                <a:gd name="T2" fmla="*/ 0 w 480"/>
                <a:gd name="T3" fmla="*/ 192 h 480"/>
                <a:gd name="T4" fmla="*/ 288 w 480"/>
                <a:gd name="T5" fmla="*/ 480 h 480"/>
                <a:gd name="T6" fmla="*/ 480 w 480"/>
                <a:gd name="T7" fmla="*/ 480 h 480"/>
                <a:gd name="T8" fmla="*/ 0 w 480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0" h="480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59" y="192"/>
                    <a:pt x="288" y="321"/>
                    <a:pt x="288" y="480"/>
                  </a:cubicBezTo>
                  <a:cubicBezTo>
                    <a:pt x="480" y="480"/>
                    <a:pt x="480" y="480"/>
                    <a:pt x="480" y="480"/>
                  </a:cubicBezTo>
                  <a:cubicBezTo>
                    <a:pt x="480" y="215"/>
                    <a:pt x="265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76">
              <a:extLst>
                <a:ext uri="{FF2B5EF4-FFF2-40B4-BE49-F238E27FC236}">
                  <a16:creationId xmlns:a16="http://schemas.microsoft.com/office/drawing/2014/main" id="{4BE1CF45-D850-4D12-9AD9-373F82500E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8171" y="48517649"/>
              <a:ext cx="136525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8" name="Freeform 58">
            <a:extLst>
              <a:ext uri="{FF2B5EF4-FFF2-40B4-BE49-F238E27FC236}">
                <a16:creationId xmlns:a16="http://schemas.microsoft.com/office/drawing/2014/main" id="{1239A33F-204E-4B47-93E1-2F2063AC098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103914" y="1604716"/>
            <a:ext cx="1341343" cy="1230218"/>
          </a:xfrm>
          <a:custGeom>
            <a:avLst/>
            <a:gdLst>
              <a:gd name="T0" fmla="*/ 1152 w 1152"/>
              <a:gd name="T1" fmla="*/ 0 h 1056"/>
              <a:gd name="T2" fmla="*/ 1152 w 1152"/>
              <a:gd name="T3" fmla="*/ 192 h 1056"/>
              <a:gd name="T4" fmla="*/ 0 w 1152"/>
              <a:gd name="T5" fmla="*/ 192 h 1056"/>
              <a:gd name="T6" fmla="*/ 0 w 1152"/>
              <a:gd name="T7" fmla="*/ 0 h 1056"/>
              <a:gd name="T8" fmla="*/ 1152 w 1152"/>
              <a:gd name="T9" fmla="*/ 0 h 1056"/>
              <a:gd name="T10" fmla="*/ 1056 w 1152"/>
              <a:gd name="T11" fmla="*/ 288 h 1056"/>
              <a:gd name="T12" fmla="*/ 1056 w 1152"/>
              <a:gd name="T13" fmla="*/ 1056 h 1056"/>
              <a:gd name="T14" fmla="*/ 96 w 1152"/>
              <a:gd name="T15" fmla="*/ 1056 h 1056"/>
              <a:gd name="T16" fmla="*/ 96 w 1152"/>
              <a:gd name="T17" fmla="*/ 288 h 1056"/>
              <a:gd name="T18" fmla="*/ 1056 w 1152"/>
              <a:gd name="T19" fmla="*/ 288 h 1056"/>
              <a:gd name="T20" fmla="*/ 864 w 1152"/>
              <a:gd name="T21" fmla="*/ 576 h 1056"/>
              <a:gd name="T22" fmla="*/ 768 w 1152"/>
              <a:gd name="T23" fmla="*/ 480 h 1056"/>
              <a:gd name="T24" fmla="*/ 384 w 1152"/>
              <a:gd name="T25" fmla="*/ 480 h 1056"/>
              <a:gd name="T26" fmla="*/ 288 w 1152"/>
              <a:gd name="T27" fmla="*/ 576 h 1056"/>
              <a:gd name="T28" fmla="*/ 384 w 1152"/>
              <a:gd name="T29" fmla="*/ 672 h 1056"/>
              <a:gd name="T30" fmla="*/ 768 w 1152"/>
              <a:gd name="T31" fmla="*/ 672 h 1056"/>
              <a:gd name="T32" fmla="*/ 864 w 1152"/>
              <a:gd name="T33" fmla="*/ 576 h 10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52" h="1056">
                <a:moveTo>
                  <a:pt x="1152" y="0"/>
                </a:moveTo>
                <a:cubicBezTo>
                  <a:pt x="1152" y="192"/>
                  <a:pt x="1152" y="192"/>
                  <a:pt x="1152" y="19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0"/>
                  <a:pt x="0" y="0"/>
                  <a:pt x="0" y="0"/>
                </a:cubicBezTo>
                <a:lnTo>
                  <a:pt x="1152" y="0"/>
                </a:lnTo>
                <a:close/>
                <a:moveTo>
                  <a:pt x="1056" y="288"/>
                </a:moveTo>
                <a:cubicBezTo>
                  <a:pt x="1056" y="1056"/>
                  <a:pt x="1056" y="1056"/>
                  <a:pt x="1056" y="1056"/>
                </a:cubicBezTo>
                <a:cubicBezTo>
                  <a:pt x="96" y="1056"/>
                  <a:pt x="96" y="1056"/>
                  <a:pt x="96" y="1056"/>
                </a:cubicBezTo>
                <a:cubicBezTo>
                  <a:pt x="96" y="288"/>
                  <a:pt x="96" y="288"/>
                  <a:pt x="96" y="288"/>
                </a:cubicBezTo>
                <a:lnTo>
                  <a:pt x="1056" y="288"/>
                </a:lnTo>
                <a:close/>
                <a:moveTo>
                  <a:pt x="864" y="576"/>
                </a:moveTo>
                <a:cubicBezTo>
                  <a:pt x="864" y="523"/>
                  <a:pt x="821" y="480"/>
                  <a:pt x="768" y="48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31" y="480"/>
                  <a:pt x="288" y="523"/>
                  <a:pt x="288" y="576"/>
                </a:cubicBezTo>
                <a:cubicBezTo>
                  <a:pt x="288" y="629"/>
                  <a:pt x="331" y="672"/>
                  <a:pt x="384" y="672"/>
                </a:cubicBezTo>
                <a:cubicBezTo>
                  <a:pt x="768" y="672"/>
                  <a:pt x="768" y="672"/>
                  <a:pt x="768" y="672"/>
                </a:cubicBezTo>
                <a:cubicBezTo>
                  <a:pt x="821" y="672"/>
                  <a:pt x="864" y="629"/>
                  <a:pt x="864" y="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463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8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1F62B7F4-9FBA-4D78-95B3-5CD4BF3D6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266372"/>
            <a:ext cx="1906907" cy="1906907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7DF68FB-1F53-419E-9297-CFD3C625ED61}"/>
              </a:ext>
            </a:extLst>
          </p:cNvPr>
          <p:cNvGrpSpPr/>
          <p:nvPr/>
        </p:nvGrpSpPr>
        <p:grpSpPr>
          <a:xfrm>
            <a:off x="8690783" y="1457151"/>
            <a:ext cx="1522410" cy="1525348"/>
            <a:chOff x="9857502" y="48105692"/>
            <a:chExt cx="822325" cy="823912"/>
          </a:xfrm>
          <a:solidFill>
            <a:schemeClr val="accent6"/>
          </a:solidFill>
        </p:grpSpPr>
        <p:sp>
          <p:nvSpPr>
            <p:cNvPr id="121" name="Freeform 80">
              <a:extLst>
                <a:ext uri="{FF2B5EF4-FFF2-40B4-BE49-F238E27FC236}">
                  <a16:creationId xmlns:a16="http://schemas.microsoft.com/office/drawing/2014/main" id="{1F1295EC-3405-4AFC-A7DF-68E2DE535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7502" y="48243804"/>
              <a:ext cx="685800" cy="685800"/>
            </a:xfrm>
            <a:custGeom>
              <a:avLst/>
              <a:gdLst>
                <a:gd name="T0" fmla="*/ 345 w 432"/>
                <a:gd name="T1" fmla="*/ 346 h 432"/>
                <a:gd name="T2" fmla="*/ 86 w 432"/>
                <a:gd name="T3" fmla="*/ 346 h 432"/>
                <a:gd name="T4" fmla="*/ 86 w 432"/>
                <a:gd name="T5" fmla="*/ 86 h 432"/>
                <a:gd name="T6" fmla="*/ 216 w 432"/>
                <a:gd name="T7" fmla="*/ 86 h 432"/>
                <a:gd name="T8" fmla="*/ 216 w 432"/>
                <a:gd name="T9" fmla="*/ 0 h 432"/>
                <a:gd name="T10" fmla="*/ 0 w 432"/>
                <a:gd name="T11" fmla="*/ 0 h 432"/>
                <a:gd name="T12" fmla="*/ 0 w 432"/>
                <a:gd name="T13" fmla="*/ 432 h 432"/>
                <a:gd name="T14" fmla="*/ 432 w 432"/>
                <a:gd name="T15" fmla="*/ 432 h 432"/>
                <a:gd name="T16" fmla="*/ 432 w 432"/>
                <a:gd name="T17" fmla="*/ 216 h 432"/>
                <a:gd name="T18" fmla="*/ 345 w 432"/>
                <a:gd name="T19" fmla="*/ 216 h 432"/>
                <a:gd name="T20" fmla="*/ 345 w 432"/>
                <a:gd name="T21" fmla="*/ 34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2" h="432">
                  <a:moveTo>
                    <a:pt x="345" y="346"/>
                  </a:moveTo>
                  <a:lnTo>
                    <a:pt x="86" y="346"/>
                  </a:lnTo>
                  <a:lnTo>
                    <a:pt x="86" y="86"/>
                  </a:lnTo>
                  <a:lnTo>
                    <a:pt x="216" y="8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432"/>
                  </a:lnTo>
                  <a:lnTo>
                    <a:pt x="432" y="432"/>
                  </a:lnTo>
                  <a:lnTo>
                    <a:pt x="432" y="216"/>
                  </a:lnTo>
                  <a:lnTo>
                    <a:pt x="345" y="216"/>
                  </a:lnTo>
                  <a:lnTo>
                    <a:pt x="345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81">
              <a:extLst>
                <a:ext uri="{FF2B5EF4-FFF2-40B4-BE49-F238E27FC236}">
                  <a16:creationId xmlns:a16="http://schemas.microsoft.com/office/drawing/2014/main" id="{0A5A2B5D-A641-465A-9B30-B77776CD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927" y="48105692"/>
              <a:ext cx="342900" cy="342900"/>
            </a:xfrm>
            <a:custGeom>
              <a:avLst/>
              <a:gdLst>
                <a:gd name="T0" fmla="*/ 0 w 216"/>
                <a:gd name="T1" fmla="*/ 87 h 216"/>
                <a:gd name="T2" fmla="*/ 130 w 216"/>
                <a:gd name="T3" fmla="*/ 87 h 216"/>
                <a:gd name="T4" fmla="*/ 130 w 216"/>
                <a:gd name="T5" fmla="*/ 216 h 216"/>
                <a:gd name="T6" fmla="*/ 216 w 216"/>
                <a:gd name="T7" fmla="*/ 216 h 216"/>
                <a:gd name="T8" fmla="*/ 216 w 216"/>
                <a:gd name="T9" fmla="*/ 0 h 216"/>
                <a:gd name="T10" fmla="*/ 0 w 216"/>
                <a:gd name="T11" fmla="*/ 0 h 216"/>
                <a:gd name="T12" fmla="*/ 0 w 216"/>
                <a:gd name="T13" fmla="*/ 8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6">
                  <a:moveTo>
                    <a:pt x="0" y="87"/>
                  </a:moveTo>
                  <a:lnTo>
                    <a:pt x="130" y="87"/>
                  </a:lnTo>
                  <a:lnTo>
                    <a:pt x="130" y="216"/>
                  </a:lnTo>
                  <a:lnTo>
                    <a:pt x="216" y="216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82">
              <a:extLst>
                <a:ext uri="{FF2B5EF4-FFF2-40B4-BE49-F238E27FC236}">
                  <a16:creationId xmlns:a16="http://schemas.microsoft.com/office/drawing/2014/main" id="{6282B921-1BA3-49F8-A07D-AEB5FB0E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32140" y="48518442"/>
              <a:ext cx="136525" cy="136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63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84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75775934-F650-4C52-AA5C-F013EB4A54BA}"/>
              </a:ext>
            </a:extLst>
          </p:cNvPr>
          <p:cNvGrpSpPr/>
          <p:nvPr/>
        </p:nvGrpSpPr>
        <p:grpSpPr>
          <a:xfrm>
            <a:off x="161343" y="1479290"/>
            <a:ext cx="2609224" cy="643538"/>
            <a:chOff x="330424" y="3751799"/>
            <a:chExt cx="15193725" cy="3747377"/>
          </a:xfrm>
        </p:grpSpPr>
        <p:sp>
          <p:nvSpPr>
            <p:cNvPr id="47" name="Arrow: Pentagon 46">
              <a:extLst>
                <a:ext uri="{FF2B5EF4-FFF2-40B4-BE49-F238E27FC236}">
                  <a16:creationId xmlns:a16="http://schemas.microsoft.com/office/drawing/2014/main" id="{460A25A7-0027-481A-9C44-CCD751373D4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46B1DC55-73AE-49B0-BA9C-E00C869485FE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D2599AD-19F3-43FF-B7D6-0E94223DBEB3}"/>
                </a:ext>
              </a:extLst>
            </p:cNvPr>
            <p:cNvCxnSpPr>
              <a:cxnSpLocks/>
              <a:endCxn id="8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0795C56-245F-4FC1-9266-6A819A09B9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AC2CC2A-9A32-4450-A6D6-398C96BFA98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F4A5A69-8CDA-4E2B-8115-98FBD7A57D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1B8574C-8631-487F-9DBB-9BE07B59F8EA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D828AEC-7DC1-4566-989F-4F3BB8FAD4DF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B4D51B6-1CD4-425C-86CB-01ACAE43EA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07BDB79-C26B-4488-A129-9D6000247E5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876AE72-690F-4591-BBD7-94D0F9E1CB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2563C88-AD81-4492-A25D-3C4CD5B2AF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0ED487-6803-431C-8E0F-40D973517C7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2F1AFF7-785A-4CC8-B5A4-A3C7EA4BB155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8E0564AE-63C1-4C76-ACB3-E32D017E6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336F5C3-BA4E-404F-BE24-C4F0A3B4D9C9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EE94C773-5386-4389-82C4-01754C2CD745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4D874AD-A200-45AC-ABA9-9289DEB0B87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5E7C3B-BAFB-4794-B5E8-F6241296529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0F1292AB-1C44-4CA1-B466-C42C37503E2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B033ACF-4356-4305-8B9F-24F6EF92DB2C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C07D89-6A00-45B8-BDC1-1F69DA716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4924672-1CCF-4250-8BDA-A10058D21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CEAB92C-9039-4C61-9CD8-A0EC774885E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C8EED9EB-FF65-4F6B-83D0-3E282CF66D1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2D51E82-3AE1-4F60-B23C-6D60347778B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776255-27DE-4E6D-9E85-562993854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F30525A-7876-4B90-96D0-B558E25E1CE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5B3B71-CF74-4542-990C-FD662E3B556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A7562FF7-F9B2-4A29-A5BB-1DD5CF99829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8933D06-CE90-4450-8330-4D396861312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62DDA40-E7A4-4DDB-AE07-61BC3E3D113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6CA4E56-2B6B-4C76-948B-9EA9EBC11E03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C34D1A-4059-4CEF-9D8F-831EEF5C2D2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D1F842E-0C24-41D9-B295-5F3C5BAFA0E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75A879F-664F-4884-99CA-CB6B14662C4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BAF577-EB68-4031-8B73-48FF73C1A2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E047594-C046-4C39-85D1-5E09926B883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610305D6-26B3-41AA-9A0E-7E05EDA384C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66FAB78-638E-4259-ACB7-957D5687AAC9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7FC14E-87D1-4ABF-85A7-654B00EF090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25B89526-3C75-4526-B36E-AB95AE944A86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74916CF-7E51-4CAF-8EF5-8BB8C4D1E033}"/>
              </a:ext>
            </a:extLst>
          </p:cNvPr>
          <p:cNvGrpSpPr/>
          <p:nvPr/>
        </p:nvGrpSpPr>
        <p:grpSpPr>
          <a:xfrm>
            <a:off x="1069584" y="2330048"/>
            <a:ext cx="2609224" cy="643538"/>
            <a:chOff x="330424" y="3751799"/>
            <a:chExt cx="15193725" cy="3747377"/>
          </a:xfrm>
        </p:grpSpPr>
        <p:sp>
          <p:nvSpPr>
            <p:cNvPr id="90" name="Arrow: Pentagon 89">
              <a:extLst>
                <a:ext uri="{FF2B5EF4-FFF2-40B4-BE49-F238E27FC236}">
                  <a16:creationId xmlns:a16="http://schemas.microsoft.com/office/drawing/2014/main" id="{978C0DFB-31DA-45B9-AFF2-152AEAC9F87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747449C-31DA-4B4B-9169-748A85F08A6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1F01EC-95E1-4937-B42F-F3718461A23B}"/>
                </a:ext>
              </a:extLst>
            </p:cNvPr>
            <p:cNvCxnSpPr>
              <a:cxnSpLocks/>
              <a:endCxn id="128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5E307D1-78BB-4ED0-92A4-03256343D5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8097DD6-9DEB-4152-A6CE-75F6F55382EC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E2580DE6-2546-47BA-A50E-5C3622DA02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FBB411-EBAD-49A1-A2C8-6926E07D5B0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5D01276-34B1-46A5-A5A4-9C4A75642BD5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9034785-3A48-4125-9505-36715E54F4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85C08A4-AC1B-4942-954A-8D547D5E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A1B49D4-D94B-40D9-A352-DAD51461C1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847545C-5C5B-4CAE-9025-C1332A9CAE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7F6AA23-FF85-498A-9535-2F8FCC00E2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6CACA63-4A99-47E1-AAFA-4A056916DC4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3184453-E6F4-4EFA-B8C0-CFA8E367A1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44FC26F5-D98F-4DA8-B842-30F0CE5542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3B233B3C-A801-4214-9C0D-97CE9FD9061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E633DE3-23A9-40BD-B47F-EBF2DB77690B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EFDFF4BC-5F19-445C-880B-5C27FAD232AB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76D3C08-F0EE-40F8-9522-80F246D8A3E5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A4FB4FF5-CDD9-4C06-B338-C746C1B67743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FD91404-AE45-4D5E-A9FA-3B87FF408D3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FE5034FE-E04A-4820-88D2-9A53F0FB0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D26E55C-A7E0-48E3-ACB2-9969ABE5A40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ED059567-C4D4-4B36-9ECD-A349FE987EC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235844D0-1154-4042-9506-E17E84FE1E8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4BE04D57-D1E7-4E66-8B69-AAEDDDE7E4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240005-BF51-4AED-B05E-DF5E0BDE2B6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09F6ADAC-0092-42DE-8DC2-A2F123365B9D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16D0A87-0BE5-4360-8C06-45BFD01BE4D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82D4F883-227B-4817-A959-D02B80D0ACB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30D2F27C-030A-43CA-8004-96EA95EAA5D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E610753-6398-4AA0-92E9-10BC3096D46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A906B2A-9590-4F42-B702-4CB8DD773AB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8C1CF0A-F743-479D-905C-7A4C7C0820D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23AD92C-210F-45BF-BF74-276C737259D8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53A4D01F-E275-4033-BD52-FE5C0B02B815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7C572F8-BAA9-4B39-AA48-AFF9427CC8CF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69E88CBB-A4D7-44E0-8F26-87799B99911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AB8670-214D-4FDA-86DD-23CACAD5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110C6D58-A5D8-46B5-A8BF-7FE0C0F9649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9138C-F8AA-421E-A57C-5EE2D2BCDAFC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6AF8797-4D76-4D6D-96DB-1FFC8359D8EB}"/>
              </a:ext>
            </a:extLst>
          </p:cNvPr>
          <p:cNvGrpSpPr/>
          <p:nvPr/>
        </p:nvGrpSpPr>
        <p:grpSpPr>
          <a:xfrm>
            <a:off x="306582" y="3418666"/>
            <a:ext cx="2609224" cy="643538"/>
            <a:chOff x="330424" y="3751799"/>
            <a:chExt cx="15193725" cy="3747377"/>
          </a:xfrm>
        </p:grpSpPr>
        <p:sp>
          <p:nvSpPr>
            <p:cNvPr id="133" name="Arrow: Pentagon 132">
              <a:extLst>
                <a:ext uri="{FF2B5EF4-FFF2-40B4-BE49-F238E27FC236}">
                  <a16:creationId xmlns:a16="http://schemas.microsoft.com/office/drawing/2014/main" id="{78F3665B-FA4C-4A76-91AD-68CD879A9573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A7FBFB4-9541-4EB2-BE6E-059E566BB78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8523BA2C-4A38-408A-866C-51FCE92FB277}"/>
                </a:ext>
              </a:extLst>
            </p:cNvPr>
            <p:cNvCxnSpPr>
              <a:cxnSpLocks/>
              <a:endCxn id="171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75B54E52-52BF-422B-8BF7-4DBF514674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B67149A-995A-47B3-81B8-20544C574E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0A83319-F212-4DB0-8594-1E0AFD0BC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A7A7E45F-7D28-4EE2-81C4-1D0D3ACBE77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44C5CEE-1273-44C0-ACCF-1A8A2BEEC722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AB1CCE7-B3E0-42BB-B443-9392B9D1FA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CAA6F374-B163-4EA1-A15C-51D917B9FBC7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7788BC8-82A4-4A65-A1B9-FAD482EDA6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3D1FA43-212B-4421-A7C3-A1A2D5038B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2869D18A-6623-43DE-9B37-34F78AF36F1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604FE9C-F98D-42CF-B99B-DE4440A931B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0040B3FC-6379-4343-B16E-C9860B01BF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1ADA8895-08B2-42C1-8AF5-47927074CF4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4147A96C-4C87-47A2-BF2F-937F18BB02B8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DB6E0B26-C93E-4CB3-94BE-7A849F03544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6683537-B485-431D-85CE-3647F7EFF636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3619A261-A33D-458F-93F9-B43439F9EE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94033BA-103F-4581-84BB-667D60605C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AC4C0176-0DAE-4991-849F-D5B145EDA3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95EB588-0488-49BE-8C92-452D659BBD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C2EDB38F-F59D-4D10-A47F-5B5F371B8CA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7D6D1A2-493D-4A7D-8DBB-37D742ED12ED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4579C7A4-5F95-47FE-BD8C-B59C8AB668E3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4956FD33-74F1-4EE5-8B39-6DCC46BC6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E59B834-0049-4D96-B252-86E401678EF3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048EDE5-D1E1-403C-8D8F-DB3076C282E7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2BF801FF-4225-4B07-B965-CFE07371187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4FD6FFE-7468-45F1-A739-DC850B37958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19D90097-036E-4932-A6EC-836B717CB35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B5DD543C-B00C-4161-BD8B-44161024F84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6E65E1C-CCF3-43F5-856E-82D847128BF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118286D7-30EC-4732-9AEA-A2706C49917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D167730E-18C4-45E1-8522-9DD6F7B6727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DB2FE05-8BCB-4216-98ED-091BAA0DA4F9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158DC7E7-A081-4F96-B35D-46F637B3D5FD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D5DD94BA-4CBD-4080-AE8F-6B37D92FF327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7DEF27DA-C46F-417A-97D5-F91A67508E2A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CE8B870D-D994-4953-9909-7F08768778C9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466F828B-EDE4-4481-91E7-51BCFEAEA86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A9FF89F-54AC-49CD-9DA3-B515D76B8145}"/>
              </a:ext>
            </a:extLst>
          </p:cNvPr>
          <p:cNvGrpSpPr/>
          <p:nvPr/>
        </p:nvGrpSpPr>
        <p:grpSpPr>
          <a:xfrm>
            <a:off x="4820965" y="2272282"/>
            <a:ext cx="2609224" cy="643538"/>
            <a:chOff x="330424" y="3751799"/>
            <a:chExt cx="15193725" cy="3747377"/>
          </a:xfrm>
        </p:grpSpPr>
        <p:sp>
          <p:nvSpPr>
            <p:cNvPr id="176" name="Arrow: Pentagon 175">
              <a:extLst>
                <a:ext uri="{FF2B5EF4-FFF2-40B4-BE49-F238E27FC236}">
                  <a16:creationId xmlns:a16="http://schemas.microsoft.com/office/drawing/2014/main" id="{4E43399E-9DF2-4A52-B834-3079CF55CF8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598CDB-B5B4-4C49-96A0-38F5798DB6D9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61B36B0-C187-45DD-91FC-33B7DABF7CC4}"/>
                </a:ext>
              </a:extLst>
            </p:cNvPr>
            <p:cNvCxnSpPr>
              <a:cxnSpLocks/>
              <a:endCxn id="21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C453AD55-F7C0-4C0B-88BC-20DA49762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2573F46C-D71A-4E35-816C-F601F0C5731D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E9025446-10F5-465B-978C-02FBD07936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2651F025-D162-40E5-9320-214E18484A9D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2C1ADC2-F1C4-4E87-A1C0-E65AE31A223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0AA859C-C58E-46AE-B6B8-5921A6AA6A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DB8571A5-E811-4E51-A595-11F03C9330C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9F94A1D-0A69-4DCE-B16F-9278CE76EC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F826511-9911-4EF6-AD7A-9C6C19F65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29EF371-31D5-4719-B575-43E8878EB82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0031CF10-853A-4871-B9E2-96CA3646A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DF865BD-7B4E-4A3C-9E97-6BE714CD8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AA5B176-0D15-45D2-9098-F897328521C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52533170-4A1E-4569-9EE0-FE62D2B464B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816587E-A5B3-4AAD-96C9-7FC4B20A6C0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F1B08F58-779A-4AC6-8644-DB62E58EACC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D6ED198-4239-4A61-A11A-8C2377A818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7724440D-CB31-4E46-8148-4415CBCEFFA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40B4184A-E938-4A63-94FB-6B93F361CB2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FCF478-927E-488F-B47A-DE99ED5E7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1699F181-EE12-400C-9F42-7FFFC867FC7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54F49936-B06F-4EB1-8FD6-2CBB3928FAF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A94B94F-F6EA-4C68-AB2F-BCC1C7DF250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2B8E691-604A-4E91-A9AA-CB79E876E0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6833142-2E68-4C98-9F6B-BD7AF6A6D5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80FDBCD-B90B-469E-9D27-A1E6AC040C0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F32B92-1E24-4784-9853-8AE60F8F3D2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CF664FC4-5466-4D98-9EDE-AC7D40193DC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47838CDC-C108-4535-8EF2-2532FDC48AA6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C9D9A534-D26A-483D-A77D-1163E3C6889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8130F03E-4333-4AF7-8793-C74CBFBE15A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8DBC2FFC-D32E-421C-8C40-2675DCCAE02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3357EAA7-3335-4730-99DE-1C41F965415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A25D07-CDD0-4081-A523-77565289E4F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22392A4B-0FFA-49A6-8682-C15500AC2AD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9A0DB264-097F-4368-AC8A-8FC93C113C4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293AC79-5257-4085-9504-969EBE0108D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A3F8DD6E-CF8B-4A6B-98A9-91F11A378ED0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401770A1-8CF7-4191-9078-5F0D8A88AA22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E44BBA85-F7A4-4E19-96B5-DEB0F16479F9}"/>
              </a:ext>
            </a:extLst>
          </p:cNvPr>
          <p:cNvGrpSpPr/>
          <p:nvPr/>
        </p:nvGrpSpPr>
        <p:grpSpPr>
          <a:xfrm>
            <a:off x="7664106" y="1363757"/>
            <a:ext cx="2609224" cy="643538"/>
            <a:chOff x="330424" y="3751799"/>
            <a:chExt cx="15193725" cy="3747377"/>
          </a:xfrm>
        </p:grpSpPr>
        <p:sp>
          <p:nvSpPr>
            <p:cNvPr id="219" name="Arrow: Pentagon 218">
              <a:extLst>
                <a:ext uri="{FF2B5EF4-FFF2-40B4-BE49-F238E27FC236}">
                  <a16:creationId xmlns:a16="http://schemas.microsoft.com/office/drawing/2014/main" id="{912457BD-37FE-44BA-8075-01FA1F235F1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721E9EC6-9F3D-4617-A032-588A5785C0A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C63D01A-B7E2-4E42-BF58-7B59D0B4022C}"/>
                </a:ext>
              </a:extLst>
            </p:cNvPr>
            <p:cNvCxnSpPr>
              <a:cxnSpLocks/>
              <a:endCxn id="257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92B485AA-4790-4CAE-B0E2-7A221EDD50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5FFC59B-E848-46D1-A516-452BAF29DD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59005F6A-A17D-4198-AA69-C149979F5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B4D2363B-2BC8-4E0D-B889-F91E82DEF41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4F1BC29F-2B1B-4DE1-B925-BA93E41B5F3A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286C9516-2C89-4FC4-A58B-E1F35E1F21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DC3AA93E-EA6F-40E3-9FF8-9F23ABCA7D0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2D5754AE-0618-4D75-B8E5-2638F83DE4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4E25BE72-1FC6-47A0-B97A-2025A20A0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DEA8A25-F6C2-4541-8D36-6987AAF8E88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668E0105-B82C-4748-8CAA-31681AD9B84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0B159919-BB62-4FDF-B55E-80EE57E8C3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B1472B-56F1-4425-9B82-2F322DAD60E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1DAB317A-15D3-4DEA-8C6A-9D15189955DD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66ABF297-6038-4489-AC93-47A93668D67A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D579E941-69A2-4E80-91FE-DC69E06E4D8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722FA16-6C8B-4978-8802-243EB5A6CB56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1590A85A-5A17-4EC3-B9F7-BA8875CC1FE4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C7C909E-FE04-45D4-86F1-FD58A2C40F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97B38E8-E5B4-4FC1-A0C4-3FE5D7D57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C7DB8D8C-34C5-464A-BEB6-98F8003E373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382616-E2D3-4F3D-A740-2E1BC48A43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8488D7C4-37B0-4E83-85FE-02C39F2298C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EF5F3764-0F04-45F8-8191-CD98BDB3D9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C5758DF-01B0-4DB6-8199-7A7A72F26A4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DD88EE6-FFB6-4C76-B5CA-2A7FFC1FD4B6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284D982-97F2-4F70-9C03-AFA6254CD31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3B6BF3CE-8D03-437A-A457-0066C03DC1C4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872A1A6-B27A-4EAF-B543-C8F11EDEA64D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5300D033-777D-48E0-9A68-D611A87E983D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AFC5895E-4CEF-487B-8C04-04B2DE74F3C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DB76D9F-673D-4726-9B9F-FAA3332C9F6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2F86C5D-5591-4D05-894D-6045F295A5EE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8796D5D9-0501-43FD-B4CB-F89DBF5772F7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ABFE8D3-2766-4490-BA18-FFD87DC104E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CA48074-E162-4AA3-8D9B-63ECD53CBAA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5A38F411-6D18-4A05-9CB9-C2382B51BAE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CD648692-C426-4754-B9A5-63C82AA4FC92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9FAB3529-D908-423C-9246-60D28492391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E95C4B6-7DAF-49FD-97EF-2F9CD6EFA5D1}"/>
              </a:ext>
            </a:extLst>
          </p:cNvPr>
          <p:cNvGrpSpPr/>
          <p:nvPr/>
        </p:nvGrpSpPr>
        <p:grpSpPr>
          <a:xfrm>
            <a:off x="1022028" y="4717393"/>
            <a:ext cx="2609224" cy="643538"/>
            <a:chOff x="330424" y="3751799"/>
            <a:chExt cx="15193725" cy="3747377"/>
          </a:xfrm>
        </p:grpSpPr>
        <p:sp>
          <p:nvSpPr>
            <p:cNvPr id="262" name="Arrow: Pentagon 261">
              <a:extLst>
                <a:ext uri="{FF2B5EF4-FFF2-40B4-BE49-F238E27FC236}">
                  <a16:creationId xmlns:a16="http://schemas.microsoft.com/office/drawing/2014/main" id="{59220CE7-BC5F-4629-968E-9DA1D184FF2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933B6C7C-D8AE-4A32-9101-F7BB0AAD8B76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2799BD38-591A-40A7-BE12-48351D0913F1}"/>
                </a:ext>
              </a:extLst>
            </p:cNvPr>
            <p:cNvCxnSpPr>
              <a:cxnSpLocks/>
              <a:endCxn id="30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B0EEAA9-E579-4723-834C-A113554B49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FC296A09-4C45-467F-BE9E-B69EFAE00F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A13ECCB-28C3-4D53-A781-9C9FCAD0B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781D4D90-C5BA-4F95-981C-4561511B26B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157AA959-29B7-4A96-9553-753E40261A96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CED939AC-948B-4177-A1A7-651BCD06A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397D200-A7CA-49D4-9A3D-C1656D9B1978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5DFEC054-905C-4178-A22B-3C500B5675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B588578-57F4-4321-8117-9EAA80F85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5DF2BAE9-F847-4B2D-A115-A7444D69E197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38731BC-A504-4B1A-88EB-1F58E67557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39AD1D8-627F-4D7A-8D62-29DD007EF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CDEDBBE-F708-4DC7-BEB5-8F479CDC2EF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00" name="Oval 299">
                <a:extLst>
                  <a:ext uri="{FF2B5EF4-FFF2-40B4-BE49-F238E27FC236}">
                    <a16:creationId xmlns:a16="http://schemas.microsoft.com/office/drawing/2014/main" id="{1C87ACE0-423D-45E8-9CDE-4FD948F01FA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86F44-A848-4729-9364-7A75F86CE3C4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2" name="Oval 301">
                <a:extLst>
                  <a:ext uri="{FF2B5EF4-FFF2-40B4-BE49-F238E27FC236}">
                    <a16:creationId xmlns:a16="http://schemas.microsoft.com/office/drawing/2014/main" id="{C105827C-8B0F-43DB-AC49-D1ACDEF59669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21D6C5EC-0471-4B6D-80D7-2C3BBC2DEBAB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id="{E96CF4C3-1FE3-4D36-A3F3-9854F53FC05D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79" name="Straight Connector 278">
              <a:extLst>
                <a:ext uri="{FF2B5EF4-FFF2-40B4-BE49-F238E27FC236}">
                  <a16:creationId xmlns:a16="http://schemas.microsoft.com/office/drawing/2014/main" id="{4BB54562-B259-43B2-B974-72DE6F7881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3B54BE7-DCB6-4CB5-98BC-38E1B8BD14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4C075300-82A9-49FE-8087-84E346AAE68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12263820-FE96-459E-84F7-5D927E46E83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63EBD4F-B736-401B-A3A7-92ECB674CB3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45BC2A26-1BD3-427E-8D39-56AC0E71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A5FCD22C-5989-4A07-ACE8-069BD99DAEB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599C5388-F742-43D3-A5E8-380DE5D20FC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FF83E0F8-7F95-4764-846A-C4FB1E0EF4C7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DD9CF2DA-78D5-4DCC-ADD9-90D0DAE275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5A3F5C11-E169-46C2-BEA9-98AB65F441D1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7E3940E8-8D60-4225-A03F-E65302EBE230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6006F577-5E59-4DB2-99A5-C1253B9C9DE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D3E2B54B-DA74-4C5C-8955-AE8755285996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110ED77D-0C68-400E-8608-2B0D34DB001A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F14B6E4-B2DA-48A9-942A-A5E2FBECD86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BD693E33-FB6D-485D-837F-5FDC947F2A5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479E4BE8-4DC5-45B0-954F-0AF944EE011A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AE20CBB-EC21-4090-9F4D-2472BD7F777B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3C56E13B-4ECF-4EB5-B6C2-0A0640B986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E444E375-F1F1-41FB-9BA1-AB8ABA01C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F01C86DD-47AD-4E6E-94E4-2EA98A6C7783}"/>
              </a:ext>
            </a:extLst>
          </p:cNvPr>
          <p:cNvGrpSpPr/>
          <p:nvPr/>
        </p:nvGrpSpPr>
        <p:grpSpPr>
          <a:xfrm>
            <a:off x="3655830" y="1196498"/>
            <a:ext cx="2609224" cy="643538"/>
            <a:chOff x="330424" y="3751799"/>
            <a:chExt cx="15193725" cy="3747377"/>
          </a:xfrm>
        </p:grpSpPr>
        <p:sp>
          <p:nvSpPr>
            <p:cNvPr id="305" name="Arrow: Pentagon 304">
              <a:extLst>
                <a:ext uri="{FF2B5EF4-FFF2-40B4-BE49-F238E27FC236}">
                  <a16:creationId xmlns:a16="http://schemas.microsoft.com/office/drawing/2014/main" id="{E657C682-A83F-4A28-BBAF-91497D67FBC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47B8115F-AF72-45AF-937A-2376A14AE5EF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7A8FB734-81A6-46FA-A390-EE8802B3B335}"/>
                </a:ext>
              </a:extLst>
            </p:cNvPr>
            <p:cNvCxnSpPr>
              <a:cxnSpLocks/>
              <a:endCxn id="34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E245BEAE-F855-47ED-9C28-FE97FD4BE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2B1ADCDA-5EC7-45D9-A26B-D83564951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8E4E9506-4988-425C-8AE9-0BC14CF413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27201BC0-3053-43CC-A52B-44A1D7216C9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B41DF409-927B-47AC-991C-585FDC2A098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CB3DBD37-2DC4-468B-B57C-126051627C8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7EEBF94E-508A-4238-BC54-5F06598E101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BE759A3D-A058-48DC-B41C-63E2CC19ED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97185379-C17C-4B16-992F-AB39AA68A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C2954668-75D6-4DEF-884E-01BA253E5EF2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B67E653B-A659-4560-9704-FCBA8BE3C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0B00F0B0-42CC-4D64-BCA7-F7F4F8D336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EBD71495-4294-4A01-9169-0D32FC4CA1F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43" name="Oval 342">
                <a:extLst>
                  <a:ext uri="{FF2B5EF4-FFF2-40B4-BE49-F238E27FC236}">
                    <a16:creationId xmlns:a16="http://schemas.microsoft.com/office/drawing/2014/main" id="{AE36F710-D3A7-474A-B4B1-1A7ACADE3349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D90382DA-33F4-4E4E-BAB3-46729FBBA63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A385627-1BAA-4546-8F6C-A8EB0C6B1BFC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68011CA6-A9A8-4947-AFA9-AF34C123DD4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E7B74C4E-08E7-48DF-B0A1-C8304D0D0EA7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46C67286-7F37-477D-B5AD-CD1D7FEA10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127A47A5-C9E2-44B2-9295-A90D53D6AD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4DA88D0E-36CE-4920-825B-95ABF8E782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BCB95280-934C-4C8E-A82D-42B8816290A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3A28DC07-C7E1-4B72-BB92-790D52692E8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84CD5E0D-8206-45C6-A0A0-01F165063C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8DFE5A99-4CE8-4D2D-A8E1-B2F416BF6557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39" name="Oval 338">
                <a:extLst>
                  <a:ext uri="{FF2B5EF4-FFF2-40B4-BE49-F238E27FC236}">
                    <a16:creationId xmlns:a16="http://schemas.microsoft.com/office/drawing/2014/main" id="{2C4BDDCD-9BB7-404D-B3B0-4CF3C8075F1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1F2163A-1409-4044-A249-75FBA974915E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032CD318-9F79-46F9-9C3B-A74CE8C450F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16276CDF-0375-446A-A15E-8DD14E3DCF6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A7B4EACC-C834-4491-8C02-BF626A07D78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0BE60708-8C11-40CD-BEEF-438922009FE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1" name="Oval 330">
              <a:extLst>
                <a:ext uri="{FF2B5EF4-FFF2-40B4-BE49-F238E27FC236}">
                  <a16:creationId xmlns:a16="http://schemas.microsoft.com/office/drawing/2014/main" id="{0EBDB46F-BF51-4B57-8D26-F71C52B2FCF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EC937090-0230-4E41-B52A-8AA9D8073F8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BC813F56-3AE9-48D7-B3DB-A9ED9D485E7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4" name="Oval 333">
              <a:extLst>
                <a:ext uri="{FF2B5EF4-FFF2-40B4-BE49-F238E27FC236}">
                  <a16:creationId xmlns:a16="http://schemas.microsoft.com/office/drawing/2014/main" id="{D9F52E51-7C9D-45CE-8158-F2CAFDEA094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874009A3-0138-43A3-9F5A-ACD6AA51F871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01A7D076-6A63-40F6-8107-A3E3195D65B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2EA5D818-3201-4301-AD87-4A705095119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EEDF7B-BCF9-46CC-9EDC-70274B25A9C7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AB3E5A61-3199-4699-B155-5ED02BF89724}"/>
              </a:ext>
            </a:extLst>
          </p:cNvPr>
          <p:cNvGrpSpPr/>
          <p:nvPr/>
        </p:nvGrpSpPr>
        <p:grpSpPr>
          <a:xfrm>
            <a:off x="7658084" y="4336230"/>
            <a:ext cx="2609224" cy="643538"/>
            <a:chOff x="330424" y="3751799"/>
            <a:chExt cx="15193725" cy="3747377"/>
          </a:xfrm>
        </p:grpSpPr>
        <p:sp>
          <p:nvSpPr>
            <p:cNvPr id="348" name="Arrow: Pentagon 347">
              <a:extLst>
                <a:ext uri="{FF2B5EF4-FFF2-40B4-BE49-F238E27FC236}">
                  <a16:creationId xmlns:a16="http://schemas.microsoft.com/office/drawing/2014/main" id="{9229A2C0-4D12-4167-A46D-1AC8294934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50BE658A-9FB3-41AC-BCAC-C4792EB6B0C5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4D1FA263-B0DE-4CAD-8A6E-A66A07339A20}"/>
                </a:ext>
              </a:extLst>
            </p:cNvPr>
            <p:cNvCxnSpPr>
              <a:cxnSpLocks/>
              <a:endCxn id="38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03B73627-CB1F-4867-8A29-C62B979BC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88706D86-3C9E-4F42-92CF-4CABE0A512A1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4E242C81-B836-43BA-943E-7CCCC7B49E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1F41051-7B22-40AD-986E-9DC72D88808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20D77CEB-206E-4459-A1B4-2E81CD5F3F2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D20CA94B-A844-4AB2-B611-C031087CB4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DC9D3FF2-66EB-4C76-BA1F-34D54706621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123AB2B0-C9B0-4255-9382-982393C624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E9EE26-D94B-454E-806C-8A6DACC19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57E2D90E-44C1-4B83-8B44-D3E7848EA4A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9E04F079-6EE9-42F7-A9C7-16157FE3D16D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7D2CB014-A0CA-4AF0-9271-2CF6C7EC9C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F9633411-3606-4432-BC94-616EC11DF61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C950227F-6FAE-468D-BA45-71C519994A1E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209A6CED-C0D1-49BB-88C5-5828EFDA8CA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D05BC35F-2911-4993-B646-8C9D0797A08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60E19E60-1A88-4549-9E25-427BA038F7C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AD86FF21-6E4A-4FD4-8BC5-6645581FCB1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28DF108B-A385-46FA-8C2D-A6E7D32FFC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00C44BD8-C792-46F4-8FAB-78AAAAC06E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B92865D2-F228-4C46-8B53-1A8169CB819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71C274A3-7FCE-41B6-9FD8-1A3C7CA5239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0B00B11B-6DAC-4E3F-8642-BB59DE4BB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DBB2A9E4-013F-4C77-AEA4-4F51C8E643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9891306-6B17-4C44-BC02-E236130CC8A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382" name="Oval 381">
                <a:extLst>
                  <a:ext uri="{FF2B5EF4-FFF2-40B4-BE49-F238E27FC236}">
                    <a16:creationId xmlns:a16="http://schemas.microsoft.com/office/drawing/2014/main" id="{02F0A84E-D211-4D18-9C1E-23FE9B97539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CF16355-F913-454F-9088-21911030DBA8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FB082897-BBCD-4EF8-B384-CD5B5571DDBF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E380C8AE-8865-44C6-A76C-A464D7D0B98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2939A615-811F-463F-AABE-66C7F1A7AAB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CD782BAC-2C52-4B2D-AA97-80A5BF25173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2F8641FC-FCD6-4327-88C9-3CD5E124971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E2447890-F64E-42A1-B5ED-FDA2649B179F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CF33BEA8-CD91-4D8B-A02B-6E3DBF7FA6B6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F2C3352B-3066-476D-A35E-07F3AF0EE6BC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BC407F8E-735E-484A-840D-A0ED004B893E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95046F66-2AF9-4806-A404-66036E97AB5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1A1ED253-DFCE-4AF7-93D5-865F5E43BDA1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A3A371DB-212D-43B0-9303-D73ECBEC7F3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7F89033C-0757-4E79-8830-5077444D43F3}"/>
              </a:ext>
            </a:extLst>
          </p:cNvPr>
          <p:cNvGrpSpPr/>
          <p:nvPr/>
        </p:nvGrpSpPr>
        <p:grpSpPr>
          <a:xfrm>
            <a:off x="4738055" y="4448555"/>
            <a:ext cx="2609224" cy="643538"/>
            <a:chOff x="330424" y="3751799"/>
            <a:chExt cx="15193725" cy="3747377"/>
          </a:xfrm>
        </p:grpSpPr>
        <p:sp>
          <p:nvSpPr>
            <p:cNvPr id="391" name="Arrow: Pentagon 390">
              <a:extLst>
                <a:ext uri="{FF2B5EF4-FFF2-40B4-BE49-F238E27FC236}">
                  <a16:creationId xmlns:a16="http://schemas.microsoft.com/office/drawing/2014/main" id="{8F88170F-54F2-4E5B-881C-B8F77FF3191E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FC36E438-3519-4552-8DCF-EDFEBE16E86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F471BC97-FC5C-4430-8F3C-41758553CA18}"/>
                </a:ext>
              </a:extLst>
            </p:cNvPr>
            <p:cNvCxnSpPr>
              <a:cxnSpLocks/>
              <a:endCxn id="429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2B1177AD-C154-4552-B3E6-BC17D69457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55FE334-BBA1-4712-8C63-76A265FE7DC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D07C684-B61F-4FD9-BDAE-3DD1042D8C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9EC583AB-1AF6-4F48-B0A6-27FFD24BD73E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20421334-11B4-4064-B220-40497A58843C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460D404E-E578-45F1-9755-D20462D541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39092-DE22-4410-A7C6-DBFB6417BA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A3D9F126-125F-4334-860C-8D1F11BF12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DE70051F-D572-4B96-9E88-5DC1D03E95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DC6B8206-B88B-4400-B60D-4286CCEA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53C300E2-B7CF-4628-A51D-9C394AAF116A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3D2E187C-52CD-4331-BCAB-8325337AAF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06" name="Group 405">
              <a:extLst>
                <a:ext uri="{FF2B5EF4-FFF2-40B4-BE49-F238E27FC236}">
                  <a16:creationId xmlns:a16="http://schemas.microsoft.com/office/drawing/2014/main" id="{AA0265FB-894F-4725-822A-6FF9A1D90CFF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C85CF08C-A320-4AD5-87F5-D7471414764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EC3EA798-8583-41BD-B7C2-DC1C8454BE0F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02BE5422-1136-4B80-A6E9-60B09868178D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1CDAE893-32FA-47BF-AA0F-304CC7CA2681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96CF460C-5596-48E6-A77F-5D9D547C455E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D5B96F9-98CE-4AA3-BFC0-11D5B59D4F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BDBC8114-8710-4C95-AD2F-A0A9EF6401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615BE8A-2EB7-4370-B4AA-F5D2CA44C811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75FF33E1-7E29-44E4-91EE-D1F70CD3568A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E599BA35-660E-4885-A0C8-BF6118D1B89E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A72CC226-24A1-42DA-A130-6E5C14185D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B102C949-0336-44B4-AB26-6B912C52412A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BE5BF5B4-AEFD-4283-BDEB-EDCABCCBD1C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D2C95F16-6641-4D7A-8A2A-3C28E47CBE9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60517B95-63E1-4300-B9B2-AEDA59C4B2E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0500782-E032-4B3F-AA15-DDF40EFFA73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3CF1F170-5DAB-4492-A7BE-4E5E95115E89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2BB053DF-7459-4BF5-9C01-B640A13DCE44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4445D576-4DCD-4034-88D9-C4C75F02C595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194C8F98-C514-4EBC-AC3E-208D5869FB5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F796838F-6E80-4A1D-A27B-62CF2DFBE70E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27A5B04C-14CF-403D-8D89-24AF7DB112AE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96DD62E9-8D1D-4493-A010-523F60C8C32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098BD61F-66DE-4FAF-872A-4691D1F4468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D7DA3CB6-7054-4C91-B725-81631CA791F6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378FE48F-C571-4F61-8426-CD964F09DD63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ECD0524B-0DE4-445B-8399-8C082500F81A}"/>
              </a:ext>
            </a:extLst>
          </p:cNvPr>
          <p:cNvGrpSpPr/>
          <p:nvPr/>
        </p:nvGrpSpPr>
        <p:grpSpPr>
          <a:xfrm>
            <a:off x="4373080" y="3326987"/>
            <a:ext cx="2609224" cy="643538"/>
            <a:chOff x="330424" y="3751799"/>
            <a:chExt cx="15193725" cy="3747377"/>
          </a:xfrm>
        </p:grpSpPr>
        <p:sp>
          <p:nvSpPr>
            <p:cNvPr id="434" name="Arrow: Pentagon 433">
              <a:extLst>
                <a:ext uri="{FF2B5EF4-FFF2-40B4-BE49-F238E27FC236}">
                  <a16:creationId xmlns:a16="http://schemas.microsoft.com/office/drawing/2014/main" id="{470B9D0B-EEDD-42C7-9503-16823B8E19A7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83999232-0D80-48F7-9FD3-2C5BC852BCA0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00860C8B-CE76-4F75-90F9-1B843A61FB2E}"/>
                </a:ext>
              </a:extLst>
            </p:cNvPr>
            <p:cNvCxnSpPr>
              <a:cxnSpLocks/>
              <a:endCxn id="47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4BAE9F90-35D0-485A-9B52-1717641D82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10155EF9-40ED-4C45-ADC7-4F9C7746AD53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90ABEE7C-E850-43B7-BC3A-0C88AC570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CA1053CF-3827-47E5-AD70-427AAB59C9C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AE4043C1-AD33-47C5-8704-243322AC5C1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68BD5DA3-60AE-43D7-AB4F-BB9312B8D3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417C2A81-9813-478A-84BB-66E6B46E3B7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26262783-BC99-4880-9DB6-1AFF414CA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027B4D3-2BB7-43E6-A7B1-D1504CDA8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4029FDF0-4E4B-4887-B937-F5BCC4D5880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3CCC8650-1D30-4031-A0E6-0FA215EDF68F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9CD5C3FA-FBE6-44F6-BB84-012551B0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EF74D20F-4A2D-4409-B31C-7AF343E2D57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A84DCDFB-F9A1-4520-BDE6-A1B096065336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DE866A00-0178-44A7-B935-0C7769889692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BEB5AB94-9823-4B35-85A7-E7FA183BEC81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5" name="Oval 474">
                <a:extLst>
                  <a:ext uri="{FF2B5EF4-FFF2-40B4-BE49-F238E27FC236}">
                    <a16:creationId xmlns:a16="http://schemas.microsoft.com/office/drawing/2014/main" id="{D466E187-C781-4BA4-A014-861C3C33B2E4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E3A86833-1CAD-4031-83E8-96739B0AF44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4D77A3B6-3BC8-465C-9F8E-7D0AFD13D73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B87121D3-3E7B-4A6F-8702-20027293B3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DB5E0383-336C-4779-BF3E-17CBE6A7C7E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0C7E10B4-34AE-49E2-A13A-D4475CD6AAC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C3E7E5B4-CF0D-480C-A7CA-1ED1A5F80E14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E1F8E363-AF78-4B38-A949-14666EC6A0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50D6CA-F85C-4F2B-8C99-C76A88BBF032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E3E64A22-D91B-4355-92DD-3C483AD06175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953E94C4-600E-4754-A20A-DCF08FAB7839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80C48699-1FB9-4B56-BC52-EDEACA472D1B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04EA4937-E1F1-481A-B679-0792019429B2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BD018C23-1894-44A3-BB24-1B7BA2014C9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D8A892E9-1FBF-4FD5-9877-915252460F0C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48D812B-7E9B-4345-B12A-0AFF1200736A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401525FD-AD4B-4437-AE61-C84FE605CB64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2D3B5978-B1C4-4E5F-9E85-423CCEED6CC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69940C4F-0F72-4349-8BA7-0201AEB4DBF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5899D571-F793-4DA5-B254-84FD72C91A0C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70D1D591-2951-4C7C-95CF-554EAEF8FA28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D69405CC-6FEB-4AD2-B7B1-D64E1B90628C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F9CF12A1-878F-4EFF-AA5F-3815F454A68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76" name="Group 475">
            <a:extLst>
              <a:ext uri="{FF2B5EF4-FFF2-40B4-BE49-F238E27FC236}">
                <a16:creationId xmlns:a16="http://schemas.microsoft.com/office/drawing/2014/main" id="{FBF1B06C-D937-4B2C-B593-9529F5B6C5F2}"/>
              </a:ext>
            </a:extLst>
          </p:cNvPr>
          <p:cNvGrpSpPr/>
          <p:nvPr/>
        </p:nvGrpSpPr>
        <p:grpSpPr>
          <a:xfrm>
            <a:off x="7526558" y="2802969"/>
            <a:ext cx="2609224" cy="643538"/>
            <a:chOff x="330424" y="3751799"/>
            <a:chExt cx="15193725" cy="3747377"/>
          </a:xfrm>
        </p:grpSpPr>
        <p:sp>
          <p:nvSpPr>
            <p:cNvPr id="477" name="Arrow: Pentagon 476">
              <a:extLst>
                <a:ext uri="{FF2B5EF4-FFF2-40B4-BE49-F238E27FC236}">
                  <a16:creationId xmlns:a16="http://schemas.microsoft.com/office/drawing/2014/main" id="{17D0238B-AD15-4250-8D3C-B72B5CF6637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8" name="Straight Connector 477">
              <a:extLst>
                <a:ext uri="{FF2B5EF4-FFF2-40B4-BE49-F238E27FC236}">
                  <a16:creationId xmlns:a16="http://schemas.microsoft.com/office/drawing/2014/main" id="{F91DEE3C-CE79-4F9D-B99C-7362F457CBC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160C01EC-46D8-4D6C-B457-09940DE7A318}"/>
                </a:ext>
              </a:extLst>
            </p:cNvPr>
            <p:cNvCxnSpPr>
              <a:cxnSpLocks/>
              <a:endCxn id="515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7376C03A-EE92-4091-80B4-4E8253F683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1" name="Straight Connector 480">
              <a:extLst>
                <a:ext uri="{FF2B5EF4-FFF2-40B4-BE49-F238E27FC236}">
                  <a16:creationId xmlns:a16="http://schemas.microsoft.com/office/drawing/2014/main" id="{4626F678-0D9D-493E-B8DC-F2025BD803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72641784-CE60-4C12-AA84-CCDB1C9211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2F8BC9C-2D75-41B9-BF18-2E41516DCFE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84" name="Oval 483">
              <a:extLst>
                <a:ext uri="{FF2B5EF4-FFF2-40B4-BE49-F238E27FC236}">
                  <a16:creationId xmlns:a16="http://schemas.microsoft.com/office/drawing/2014/main" id="{7EF52D04-5899-4126-B761-8DFFEFB4909B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7378249-2808-471D-BCE1-C4DBED095E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0F44670B-5E37-48E8-A5C7-DF48C6B380C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C980CBEF-1DB8-4EC1-9C86-21A4ADDDAB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04E696A6-636B-499C-A774-A1D51EC07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2CADFDF3-563C-4E24-A415-10037AA0B09D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CA8E437B-B0A7-4E3D-BE25-2723ACFEEA1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9B9543E7-7747-40E2-BAFE-5545F92BC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CE5D35EA-D4B6-4FD8-9A89-710085D8622C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79BDC24A-38F5-40F6-8148-58602DA03361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4A9535A1-4F99-41CA-8E35-A4BB7C7228DD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F8F9BF16-62FD-4568-AC68-24824099C6A0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C45BC8BF-F1A0-41A4-BE18-FB7BBF471688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AA1C1C14-A6D4-42E0-BF97-5791F1410F4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166F5D2-5094-4220-A2F9-A61BE2938D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78E16DB7-DA78-4700-99CE-6D9ED02A62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7B3A708C-8033-4786-B8A4-89D3C2B9F5E5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72591957-6EDC-42D8-A5EA-A18E62F1E06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FE87E0D4-084E-4C10-B37A-49AD9010D6B9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891FD1C0-82FF-43EF-A1A3-022AC605A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E673D08B-5012-4BC3-A2A7-A501619AB561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94A1863B-491F-4BE7-9670-F20740F22072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92487B39-719A-4EB7-BA43-6F941E4BB8AF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70595B5C-6B13-45FE-9512-18C6A7414C23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ED65D217-372E-4E05-924F-29AE119C68E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74C29BDA-6708-4233-9631-60EE69F03EDC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E6D01FD7-C5CD-4B43-9B82-3D37C7F2B0C6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39891905-0FEA-4758-939D-9667C10B2932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41DB6572-9695-47EA-9E76-32FA832122C7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2DAD10BE-9C96-481E-B6CE-B7C632DA4A2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578F2078-D6F8-4DDD-BFD8-4B3919D5724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7" name="Oval 506">
              <a:extLst>
                <a:ext uri="{FF2B5EF4-FFF2-40B4-BE49-F238E27FC236}">
                  <a16:creationId xmlns:a16="http://schemas.microsoft.com/office/drawing/2014/main" id="{AB696CCA-F1DA-4228-9F7F-0D86E31DC48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8" name="Oval 507">
              <a:extLst>
                <a:ext uri="{FF2B5EF4-FFF2-40B4-BE49-F238E27FC236}">
                  <a16:creationId xmlns:a16="http://schemas.microsoft.com/office/drawing/2014/main" id="{40690A6B-E1F1-4BA6-A095-1D9F603071B1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6F52D7A5-BBB3-4E3A-AB23-ECCFEFF220D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10" name="Oval 509">
              <a:extLst>
                <a:ext uri="{FF2B5EF4-FFF2-40B4-BE49-F238E27FC236}">
                  <a16:creationId xmlns:a16="http://schemas.microsoft.com/office/drawing/2014/main" id="{259E2901-DB12-4829-A849-D3A85CE272D9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3" name="Group 522">
            <a:extLst>
              <a:ext uri="{FF2B5EF4-FFF2-40B4-BE49-F238E27FC236}">
                <a16:creationId xmlns:a16="http://schemas.microsoft.com/office/drawing/2014/main" id="{ECFEA3D4-55DA-41E3-82E4-0E1B429C966B}"/>
              </a:ext>
            </a:extLst>
          </p:cNvPr>
          <p:cNvGrpSpPr/>
          <p:nvPr/>
        </p:nvGrpSpPr>
        <p:grpSpPr>
          <a:xfrm>
            <a:off x="3621379" y="5418430"/>
            <a:ext cx="2609224" cy="643538"/>
            <a:chOff x="330424" y="3751799"/>
            <a:chExt cx="15193725" cy="3747377"/>
          </a:xfrm>
        </p:grpSpPr>
        <p:sp>
          <p:nvSpPr>
            <p:cNvPr id="868" name="Arrow: Pentagon 867">
              <a:extLst>
                <a:ext uri="{FF2B5EF4-FFF2-40B4-BE49-F238E27FC236}">
                  <a16:creationId xmlns:a16="http://schemas.microsoft.com/office/drawing/2014/main" id="{78C0B67B-8140-427D-BC5F-F505F49536F0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869" name="Straight Connector 868">
              <a:extLst>
                <a:ext uri="{FF2B5EF4-FFF2-40B4-BE49-F238E27FC236}">
                  <a16:creationId xmlns:a16="http://schemas.microsoft.com/office/drawing/2014/main" id="{EB5901B3-C933-4EEE-A157-E766B3EC285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0" name="Straight Connector 869">
              <a:extLst>
                <a:ext uri="{FF2B5EF4-FFF2-40B4-BE49-F238E27FC236}">
                  <a16:creationId xmlns:a16="http://schemas.microsoft.com/office/drawing/2014/main" id="{6D661CE2-2884-48EE-9F1A-D951AAF1EA6A}"/>
                </a:ext>
              </a:extLst>
            </p:cNvPr>
            <p:cNvCxnSpPr>
              <a:cxnSpLocks/>
              <a:endCxn id="90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1" name="Straight Connector 870">
              <a:extLst>
                <a:ext uri="{FF2B5EF4-FFF2-40B4-BE49-F238E27FC236}">
                  <a16:creationId xmlns:a16="http://schemas.microsoft.com/office/drawing/2014/main" id="{F375B046-1065-46E1-A55C-90A445F3C2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F7FE3D1B-703D-44C3-8336-50E2AB309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3" name="Straight Connector 872">
              <a:extLst>
                <a:ext uri="{FF2B5EF4-FFF2-40B4-BE49-F238E27FC236}">
                  <a16:creationId xmlns:a16="http://schemas.microsoft.com/office/drawing/2014/main" id="{0931A829-4C8B-4E24-80B0-42763C21F8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4" name="Oval 873">
              <a:extLst>
                <a:ext uri="{FF2B5EF4-FFF2-40B4-BE49-F238E27FC236}">
                  <a16:creationId xmlns:a16="http://schemas.microsoft.com/office/drawing/2014/main" id="{9C23A9AC-2224-4AC1-AACF-7303DF49B949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75" name="Oval 874">
              <a:extLst>
                <a:ext uri="{FF2B5EF4-FFF2-40B4-BE49-F238E27FC236}">
                  <a16:creationId xmlns:a16="http://schemas.microsoft.com/office/drawing/2014/main" id="{A8DD1ADB-FBA6-4292-8C4F-33E211234817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76" name="Straight Connector 875">
              <a:extLst>
                <a:ext uri="{FF2B5EF4-FFF2-40B4-BE49-F238E27FC236}">
                  <a16:creationId xmlns:a16="http://schemas.microsoft.com/office/drawing/2014/main" id="{15DBFE75-6780-45AB-BE91-286A5DDC77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7" name="Straight Connector 876">
              <a:extLst>
                <a:ext uri="{FF2B5EF4-FFF2-40B4-BE49-F238E27FC236}">
                  <a16:creationId xmlns:a16="http://schemas.microsoft.com/office/drawing/2014/main" id="{1ADEFBF0-2D97-41C2-AD41-E93C9F7B7F4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8" name="Straight Connector 877">
              <a:extLst>
                <a:ext uri="{FF2B5EF4-FFF2-40B4-BE49-F238E27FC236}">
                  <a16:creationId xmlns:a16="http://schemas.microsoft.com/office/drawing/2014/main" id="{085E8075-5A30-4F76-BC50-80D924BE6B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79" name="Straight Connector 878">
              <a:extLst>
                <a:ext uri="{FF2B5EF4-FFF2-40B4-BE49-F238E27FC236}">
                  <a16:creationId xmlns:a16="http://schemas.microsoft.com/office/drawing/2014/main" id="{B9C7D945-2CF4-4CDA-B8C5-F0F8A37DD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0" name="Straight Connector 879">
              <a:extLst>
                <a:ext uri="{FF2B5EF4-FFF2-40B4-BE49-F238E27FC236}">
                  <a16:creationId xmlns:a16="http://schemas.microsoft.com/office/drawing/2014/main" id="{7FA2D360-8606-4DC7-AF46-8F070ED1EA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1" name="Straight Connector 880">
              <a:extLst>
                <a:ext uri="{FF2B5EF4-FFF2-40B4-BE49-F238E27FC236}">
                  <a16:creationId xmlns:a16="http://schemas.microsoft.com/office/drawing/2014/main" id="{E32C78AD-1550-47CE-9B27-AC9B8776B3F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3B30155E-8910-430D-BA67-0F58CE1226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3" name="Group 882">
              <a:extLst>
                <a:ext uri="{FF2B5EF4-FFF2-40B4-BE49-F238E27FC236}">
                  <a16:creationId xmlns:a16="http://schemas.microsoft.com/office/drawing/2014/main" id="{5BAC4591-BCFB-4E0C-814A-E14813C859F6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9CFDC351-3CE4-4D54-B36C-34E19CC6150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BD308C9-BB21-4307-B1AF-C4AB895BA27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D9286101-25AA-45FF-B3C2-3FD1438FAEC7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631D9B79-C5FC-4901-A98B-F2F43FDB5A7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84" name="Oval 883">
              <a:extLst>
                <a:ext uri="{FF2B5EF4-FFF2-40B4-BE49-F238E27FC236}">
                  <a16:creationId xmlns:a16="http://schemas.microsoft.com/office/drawing/2014/main" id="{EA27341E-31DA-4AEF-A389-01ABA7153D8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85" name="Straight Connector 884">
              <a:extLst>
                <a:ext uri="{FF2B5EF4-FFF2-40B4-BE49-F238E27FC236}">
                  <a16:creationId xmlns:a16="http://schemas.microsoft.com/office/drawing/2014/main" id="{EA67B247-4327-467D-8ECD-87F9EF7AFF0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86" name="Straight Connector 885">
              <a:extLst>
                <a:ext uri="{FF2B5EF4-FFF2-40B4-BE49-F238E27FC236}">
                  <a16:creationId xmlns:a16="http://schemas.microsoft.com/office/drawing/2014/main" id="{3A87098D-A0BC-4AAF-B0F5-6E1B717A11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87" name="Oval 886">
              <a:extLst>
                <a:ext uri="{FF2B5EF4-FFF2-40B4-BE49-F238E27FC236}">
                  <a16:creationId xmlns:a16="http://schemas.microsoft.com/office/drawing/2014/main" id="{F692EAFC-FA21-4E52-8C3B-EDCEB5AC6B90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88" name="Oval 887">
              <a:extLst>
                <a:ext uri="{FF2B5EF4-FFF2-40B4-BE49-F238E27FC236}">
                  <a16:creationId xmlns:a16="http://schemas.microsoft.com/office/drawing/2014/main" id="{61A3521C-CED0-4EBB-A8C3-619CD00C5B82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89" name="Straight Connector 888">
              <a:extLst>
                <a:ext uri="{FF2B5EF4-FFF2-40B4-BE49-F238E27FC236}">
                  <a16:creationId xmlns:a16="http://schemas.microsoft.com/office/drawing/2014/main" id="{7B966AEF-062D-401A-9F12-702D91D3628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7F5B8DED-DC2A-40D8-9D20-DE0D5E717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91" name="Group 890">
              <a:extLst>
                <a:ext uri="{FF2B5EF4-FFF2-40B4-BE49-F238E27FC236}">
                  <a16:creationId xmlns:a16="http://schemas.microsoft.com/office/drawing/2014/main" id="{EB8AF824-E5F7-487C-AD57-31DAF178F10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86222CD9-C4F6-4720-B468-C207DA946B99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A3949AC2-F704-4A7A-86B4-94A5FFF38D26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47AD36DC-33CC-42E0-BC4C-31E528955316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78CB799-534A-4F14-9321-95AE1F88C20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634658BB-E9BF-448D-8F9F-A9E280CCE35A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3" name="Oval 892">
              <a:extLst>
                <a:ext uri="{FF2B5EF4-FFF2-40B4-BE49-F238E27FC236}">
                  <a16:creationId xmlns:a16="http://schemas.microsoft.com/office/drawing/2014/main" id="{42290177-42E9-4281-8516-83D97B7E5883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4" name="Oval 893">
              <a:extLst>
                <a:ext uri="{FF2B5EF4-FFF2-40B4-BE49-F238E27FC236}">
                  <a16:creationId xmlns:a16="http://schemas.microsoft.com/office/drawing/2014/main" id="{004EE776-E28A-4687-BE62-8BE4E8CEDE4F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5" name="Oval 894">
              <a:extLst>
                <a:ext uri="{FF2B5EF4-FFF2-40B4-BE49-F238E27FC236}">
                  <a16:creationId xmlns:a16="http://schemas.microsoft.com/office/drawing/2014/main" id="{CD7D8C29-FF07-4AE7-AA96-873E9B71690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6" name="Oval 895">
              <a:extLst>
                <a:ext uri="{FF2B5EF4-FFF2-40B4-BE49-F238E27FC236}">
                  <a16:creationId xmlns:a16="http://schemas.microsoft.com/office/drawing/2014/main" id="{7C301184-6E93-422F-986B-DCC53A1F839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7" name="Oval 896">
              <a:extLst>
                <a:ext uri="{FF2B5EF4-FFF2-40B4-BE49-F238E27FC236}">
                  <a16:creationId xmlns:a16="http://schemas.microsoft.com/office/drawing/2014/main" id="{C6B04982-1A51-46DD-AF28-5FC8B1C96655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8" name="Oval 897">
              <a:extLst>
                <a:ext uri="{FF2B5EF4-FFF2-40B4-BE49-F238E27FC236}">
                  <a16:creationId xmlns:a16="http://schemas.microsoft.com/office/drawing/2014/main" id="{43AC9585-68F3-4A59-A811-C871B9848FEB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E1F1F4EC-0E73-45D5-92D9-0E5ED49880B5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0" name="Oval 899">
              <a:extLst>
                <a:ext uri="{FF2B5EF4-FFF2-40B4-BE49-F238E27FC236}">
                  <a16:creationId xmlns:a16="http://schemas.microsoft.com/office/drawing/2014/main" id="{1D2B2177-198E-4A08-9708-4FA3A1745C3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901" name="Oval 900">
              <a:extLst>
                <a:ext uri="{FF2B5EF4-FFF2-40B4-BE49-F238E27FC236}">
                  <a16:creationId xmlns:a16="http://schemas.microsoft.com/office/drawing/2014/main" id="{58AC7C8E-46BB-4ED8-960C-A44696ADB77E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F9848C83-CCEE-46B7-8C55-BDDCBEB39E2E}"/>
              </a:ext>
            </a:extLst>
          </p:cNvPr>
          <p:cNvGrpSpPr/>
          <p:nvPr/>
        </p:nvGrpSpPr>
        <p:grpSpPr>
          <a:xfrm>
            <a:off x="10821371" y="3429159"/>
            <a:ext cx="2609224" cy="643538"/>
            <a:chOff x="330424" y="3751799"/>
            <a:chExt cx="15193725" cy="3747377"/>
          </a:xfrm>
        </p:grpSpPr>
        <p:sp>
          <p:nvSpPr>
            <p:cNvPr id="784" name="Arrow: Pentagon 783">
              <a:extLst>
                <a:ext uri="{FF2B5EF4-FFF2-40B4-BE49-F238E27FC236}">
                  <a16:creationId xmlns:a16="http://schemas.microsoft.com/office/drawing/2014/main" id="{0AD51EC6-3BAC-4C7B-9EEA-27D199DEA0AD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4408750-BA37-481D-B80F-4A9D520CAA78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9C2D634B-BC13-428E-BBDD-DC9090BF0DF7}"/>
                </a:ext>
              </a:extLst>
            </p:cNvPr>
            <p:cNvCxnSpPr>
              <a:cxnSpLocks/>
              <a:endCxn id="82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7" name="Straight Connector 786">
              <a:extLst>
                <a:ext uri="{FF2B5EF4-FFF2-40B4-BE49-F238E27FC236}">
                  <a16:creationId xmlns:a16="http://schemas.microsoft.com/office/drawing/2014/main" id="{12AC5FC1-665F-4675-9928-88FA5FE2DE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8" name="Straight Connector 787">
              <a:extLst>
                <a:ext uri="{FF2B5EF4-FFF2-40B4-BE49-F238E27FC236}">
                  <a16:creationId xmlns:a16="http://schemas.microsoft.com/office/drawing/2014/main" id="{0C47F0F2-4D25-4923-9558-DC4C198F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9" name="Straight Connector 788">
              <a:extLst>
                <a:ext uri="{FF2B5EF4-FFF2-40B4-BE49-F238E27FC236}">
                  <a16:creationId xmlns:a16="http://schemas.microsoft.com/office/drawing/2014/main" id="{9641242F-83D1-49E1-94AE-B91EF50D53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0" name="Oval 789">
              <a:extLst>
                <a:ext uri="{FF2B5EF4-FFF2-40B4-BE49-F238E27FC236}">
                  <a16:creationId xmlns:a16="http://schemas.microsoft.com/office/drawing/2014/main" id="{2376AB46-EEF1-491B-9AF5-D3263F64FB48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FC433084-7451-467E-B345-D16E836D53B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92" name="Straight Connector 791">
              <a:extLst>
                <a:ext uri="{FF2B5EF4-FFF2-40B4-BE49-F238E27FC236}">
                  <a16:creationId xmlns:a16="http://schemas.microsoft.com/office/drawing/2014/main" id="{26BEBC84-9796-47B7-AB67-B1E10A0980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3" name="Straight Connector 792">
              <a:extLst>
                <a:ext uri="{FF2B5EF4-FFF2-40B4-BE49-F238E27FC236}">
                  <a16:creationId xmlns:a16="http://schemas.microsoft.com/office/drawing/2014/main" id="{23A10FC7-C42E-408D-A870-247C189F7DC2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4" name="Straight Connector 793">
              <a:extLst>
                <a:ext uri="{FF2B5EF4-FFF2-40B4-BE49-F238E27FC236}">
                  <a16:creationId xmlns:a16="http://schemas.microsoft.com/office/drawing/2014/main" id="{2B583766-5EA8-4F33-BF18-3396854ED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5" name="Straight Connector 794">
              <a:extLst>
                <a:ext uri="{FF2B5EF4-FFF2-40B4-BE49-F238E27FC236}">
                  <a16:creationId xmlns:a16="http://schemas.microsoft.com/office/drawing/2014/main" id="{DFD7B501-302D-498E-9538-1C8A8AABF4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6" name="Straight Connector 795">
              <a:extLst>
                <a:ext uri="{FF2B5EF4-FFF2-40B4-BE49-F238E27FC236}">
                  <a16:creationId xmlns:a16="http://schemas.microsoft.com/office/drawing/2014/main" id="{0C286FB7-49B4-421C-81F7-E4D988104D94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7" name="Straight Connector 796">
              <a:extLst>
                <a:ext uri="{FF2B5EF4-FFF2-40B4-BE49-F238E27FC236}">
                  <a16:creationId xmlns:a16="http://schemas.microsoft.com/office/drawing/2014/main" id="{C7C8CB63-A443-47AE-8845-FA62737C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8" name="Straight Connector 797">
              <a:extLst>
                <a:ext uri="{FF2B5EF4-FFF2-40B4-BE49-F238E27FC236}">
                  <a16:creationId xmlns:a16="http://schemas.microsoft.com/office/drawing/2014/main" id="{7FE51B19-511A-4284-932F-6B6E2605D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690C547E-799C-4B75-BA3C-66BB2AB614FD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00326997-10D5-4755-B966-4D2396E9C13A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A263C8B3-9994-4BB0-B9A5-F17760BA3C91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82E2ABEA-0761-4B71-B716-C432B6B01338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13DDE82-CFF5-42CE-AC3D-8D42A54AF67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0" name="Oval 799">
              <a:extLst>
                <a:ext uri="{FF2B5EF4-FFF2-40B4-BE49-F238E27FC236}">
                  <a16:creationId xmlns:a16="http://schemas.microsoft.com/office/drawing/2014/main" id="{C62F930B-BD37-4006-9E98-425AA7847EF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801" name="Straight Connector 800">
              <a:extLst>
                <a:ext uri="{FF2B5EF4-FFF2-40B4-BE49-F238E27FC236}">
                  <a16:creationId xmlns:a16="http://schemas.microsoft.com/office/drawing/2014/main" id="{3177147D-1A92-4D45-BC41-8BAF99CB1FA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2" name="Straight Connector 801">
              <a:extLst>
                <a:ext uri="{FF2B5EF4-FFF2-40B4-BE49-F238E27FC236}">
                  <a16:creationId xmlns:a16="http://schemas.microsoft.com/office/drawing/2014/main" id="{B56D1871-4AD4-4F7E-8F9B-7E5504E44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03" name="Oval 802">
              <a:extLst>
                <a:ext uri="{FF2B5EF4-FFF2-40B4-BE49-F238E27FC236}">
                  <a16:creationId xmlns:a16="http://schemas.microsoft.com/office/drawing/2014/main" id="{D277C345-8704-4F31-9008-FEEB7440DD6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804" name="Oval 803">
              <a:extLst>
                <a:ext uri="{FF2B5EF4-FFF2-40B4-BE49-F238E27FC236}">
                  <a16:creationId xmlns:a16="http://schemas.microsoft.com/office/drawing/2014/main" id="{B6BDBA1B-C0E5-4204-B1C0-F0C6F558A2C5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805" name="Straight Connector 804">
              <a:extLst>
                <a:ext uri="{FF2B5EF4-FFF2-40B4-BE49-F238E27FC236}">
                  <a16:creationId xmlns:a16="http://schemas.microsoft.com/office/drawing/2014/main" id="{7B0C6FBF-D4BA-4B1D-91BA-9AA4507281C1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6" name="Straight Connector 805">
              <a:extLst>
                <a:ext uri="{FF2B5EF4-FFF2-40B4-BE49-F238E27FC236}">
                  <a16:creationId xmlns:a16="http://schemas.microsoft.com/office/drawing/2014/main" id="{A0C07BDD-A509-483E-B26C-611A4A3C3D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2941FA60-DAF3-421D-9D3E-3E332AD92119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3D47589C-BC18-447E-B94B-30F12457DFCF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A7834024-9CC0-4DA8-B73F-239A3D038EBA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60A29ED5-FEDF-44A5-8D96-8133BE3C036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AE7B335-C84F-4575-AE75-8B7585552EC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08" name="Oval 807">
              <a:extLst>
                <a:ext uri="{FF2B5EF4-FFF2-40B4-BE49-F238E27FC236}">
                  <a16:creationId xmlns:a16="http://schemas.microsoft.com/office/drawing/2014/main" id="{0C00A7D4-835F-44E2-9E21-AB517BCBE7A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09" name="Oval 808">
              <a:extLst>
                <a:ext uri="{FF2B5EF4-FFF2-40B4-BE49-F238E27FC236}">
                  <a16:creationId xmlns:a16="http://schemas.microsoft.com/office/drawing/2014/main" id="{CF22A108-C5C4-41AE-AB62-8B68C56A0315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0" name="Oval 809">
              <a:extLst>
                <a:ext uri="{FF2B5EF4-FFF2-40B4-BE49-F238E27FC236}">
                  <a16:creationId xmlns:a16="http://schemas.microsoft.com/office/drawing/2014/main" id="{D8C41578-036C-42B9-BEB5-5E75D84B92F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1" name="Oval 810">
              <a:extLst>
                <a:ext uri="{FF2B5EF4-FFF2-40B4-BE49-F238E27FC236}">
                  <a16:creationId xmlns:a16="http://schemas.microsoft.com/office/drawing/2014/main" id="{ED407F25-8CB6-4EDB-A595-40D3F12D077D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2" name="Oval 811">
              <a:extLst>
                <a:ext uri="{FF2B5EF4-FFF2-40B4-BE49-F238E27FC236}">
                  <a16:creationId xmlns:a16="http://schemas.microsoft.com/office/drawing/2014/main" id="{498ABD58-F06E-4B94-B9F4-5BECDB694D5B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3" name="Oval 812">
              <a:extLst>
                <a:ext uri="{FF2B5EF4-FFF2-40B4-BE49-F238E27FC236}">
                  <a16:creationId xmlns:a16="http://schemas.microsoft.com/office/drawing/2014/main" id="{2A5ECB47-7295-4922-B7A4-DE5C21E753E7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id="{96C5DCE1-56CC-4406-926A-925A3CE2D143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5" name="Oval 814">
              <a:extLst>
                <a:ext uri="{FF2B5EF4-FFF2-40B4-BE49-F238E27FC236}">
                  <a16:creationId xmlns:a16="http://schemas.microsoft.com/office/drawing/2014/main" id="{D5224315-9247-4E9B-AFB5-9BDAB302860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id="{D95BD531-A95C-48CB-A040-5BFF3DAF0945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17" name="Oval 816">
              <a:extLst>
                <a:ext uri="{FF2B5EF4-FFF2-40B4-BE49-F238E27FC236}">
                  <a16:creationId xmlns:a16="http://schemas.microsoft.com/office/drawing/2014/main" id="{4A546BC6-BC33-4D35-9FA6-D2508A5F1CA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5B3F325B-D188-40CA-BD22-FEE074546883}"/>
              </a:ext>
            </a:extLst>
          </p:cNvPr>
          <p:cNvGrpSpPr/>
          <p:nvPr/>
        </p:nvGrpSpPr>
        <p:grpSpPr>
          <a:xfrm>
            <a:off x="5543478" y="6287627"/>
            <a:ext cx="2609224" cy="643538"/>
            <a:chOff x="330424" y="3751799"/>
            <a:chExt cx="15193725" cy="3747377"/>
          </a:xfrm>
        </p:grpSpPr>
        <p:sp>
          <p:nvSpPr>
            <p:cNvPr id="742" name="Arrow: Pentagon 741">
              <a:extLst>
                <a:ext uri="{FF2B5EF4-FFF2-40B4-BE49-F238E27FC236}">
                  <a16:creationId xmlns:a16="http://schemas.microsoft.com/office/drawing/2014/main" id="{3B7B859B-C63A-4032-A178-5CFB8845C6D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A58BB82A-F0E5-49C1-8C10-1339FE82308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9718B50B-185B-4279-82A6-3E0315409A1B}"/>
                </a:ext>
              </a:extLst>
            </p:cNvPr>
            <p:cNvCxnSpPr>
              <a:cxnSpLocks/>
              <a:endCxn id="78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1261DFA6-B203-4ABE-9FCB-85A87C6686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6" name="Straight Connector 745">
              <a:extLst>
                <a:ext uri="{FF2B5EF4-FFF2-40B4-BE49-F238E27FC236}">
                  <a16:creationId xmlns:a16="http://schemas.microsoft.com/office/drawing/2014/main" id="{F1D2B093-0767-4D3F-9846-088235520E8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2F62253C-5EAC-4942-ACC0-844B97CA3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48" name="Oval 747">
              <a:extLst>
                <a:ext uri="{FF2B5EF4-FFF2-40B4-BE49-F238E27FC236}">
                  <a16:creationId xmlns:a16="http://schemas.microsoft.com/office/drawing/2014/main" id="{6D9041F9-0A68-4A1A-96C7-8889616A728B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49" name="Oval 748">
              <a:extLst>
                <a:ext uri="{FF2B5EF4-FFF2-40B4-BE49-F238E27FC236}">
                  <a16:creationId xmlns:a16="http://schemas.microsoft.com/office/drawing/2014/main" id="{60DAB9A8-BDBC-4A96-9500-E36402A191F3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133AEAB9-DC9E-4D96-B77B-F87E9A700C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6EF305B6-A6BC-4870-9E64-2A80A79B7824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D3A0A6D5-11FE-40E2-BE27-622B46B60E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B5EC1B65-3D80-4805-972A-628D6E7964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34C12D0B-7B53-4D99-8D5C-E57891853DF5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253A1097-41F1-4971-92FE-D91706A19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5576C8C2-27CB-4E72-B8D2-992615BFFC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DB43B953-2851-428E-93A4-C9B56E62361B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6F7172EF-6828-4C6D-B34B-AC64A49A0E8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E09F048F-AAAC-4465-AABD-4F2A030D2800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20FBD098-52FD-47A1-93F5-6EAC08AF35E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49283FA7-51C0-4E8B-8BFF-290698A2A2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8C4A2FAE-C04B-4460-9FCD-7BB26083379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59" name="Straight Connector 758">
              <a:extLst>
                <a:ext uri="{FF2B5EF4-FFF2-40B4-BE49-F238E27FC236}">
                  <a16:creationId xmlns:a16="http://schemas.microsoft.com/office/drawing/2014/main" id="{074797DF-D07C-4CFF-A645-6F27208438E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0" name="Straight Connector 759">
              <a:extLst>
                <a:ext uri="{FF2B5EF4-FFF2-40B4-BE49-F238E27FC236}">
                  <a16:creationId xmlns:a16="http://schemas.microsoft.com/office/drawing/2014/main" id="{BB3B6828-E0FF-4335-83D2-9E92FD962A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5DFE3A97-2C8B-4921-8703-8052F3625759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762" name="Oval 761">
              <a:extLst>
                <a:ext uri="{FF2B5EF4-FFF2-40B4-BE49-F238E27FC236}">
                  <a16:creationId xmlns:a16="http://schemas.microsoft.com/office/drawing/2014/main" id="{A398F022-A1B3-4D47-A03C-29D2CE9A6837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763" name="Straight Connector 762">
              <a:extLst>
                <a:ext uri="{FF2B5EF4-FFF2-40B4-BE49-F238E27FC236}">
                  <a16:creationId xmlns:a16="http://schemas.microsoft.com/office/drawing/2014/main" id="{F5336D7F-360F-4B45-B9A4-FD2CBB1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4" name="Straight Connector 763">
              <a:extLst>
                <a:ext uri="{FF2B5EF4-FFF2-40B4-BE49-F238E27FC236}">
                  <a16:creationId xmlns:a16="http://schemas.microsoft.com/office/drawing/2014/main" id="{ED3908CE-24B5-470B-A28C-9E5838854C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65" name="Group 764">
              <a:extLst>
                <a:ext uri="{FF2B5EF4-FFF2-40B4-BE49-F238E27FC236}">
                  <a16:creationId xmlns:a16="http://schemas.microsoft.com/office/drawing/2014/main" id="{047FD26B-B66A-4CE1-ADAB-3A0739806D20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4C9543F3-C863-42AE-9918-DC7DF73ED63C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7D17FE72-9EE4-469C-B454-73FB7C8355A3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51C1CEA-C76B-49D8-A69E-2481495AB14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6C6FF5A0-B1CA-4741-B639-62C47F650CAA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66" name="Oval 765">
              <a:extLst>
                <a:ext uri="{FF2B5EF4-FFF2-40B4-BE49-F238E27FC236}">
                  <a16:creationId xmlns:a16="http://schemas.microsoft.com/office/drawing/2014/main" id="{6E2481FF-2BCA-47E7-A225-4A63B650695B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7" name="Oval 766">
              <a:extLst>
                <a:ext uri="{FF2B5EF4-FFF2-40B4-BE49-F238E27FC236}">
                  <a16:creationId xmlns:a16="http://schemas.microsoft.com/office/drawing/2014/main" id="{0B9EC9D5-AE57-4326-9F5C-6EE8E9DCA202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8" name="Oval 767">
              <a:extLst>
                <a:ext uri="{FF2B5EF4-FFF2-40B4-BE49-F238E27FC236}">
                  <a16:creationId xmlns:a16="http://schemas.microsoft.com/office/drawing/2014/main" id="{FA6A5DB2-743D-4531-A807-AA90B5A58450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69" name="Oval 768">
              <a:extLst>
                <a:ext uri="{FF2B5EF4-FFF2-40B4-BE49-F238E27FC236}">
                  <a16:creationId xmlns:a16="http://schemas.microsoft.com/office/drawing/2014/main" id="{B547DC9C-563B-4279-8A43-9E08F9B4E83B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0" name="Oval 769">
              <a:extLst>
                <a:ext uri="{FF2B5EF4-FFF2-40B4-BE49-F238E27FC236}">
                  <a16:creationId xmlns:a16="http://schemas.microsoft.com/office/drawing/2014/main" id="{D317774D-9601-4DC5-94D1-25327E7859C1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1" name="Oval 770">
              <a:extLst>
                <a:ext uri="{FF2B5EF4-FFF2-40B4-BE49-F238E27FC236}">
                  <a16:creationId xmlns:a16="http://schemas.microsoft.com/office/drawing/2014/main" id="{B13C9CB1-D326-4820-999D-3506BEA2B946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2" name="Oval 771">
              <a:extLst>
                <a:ext uri="{FF2B5EF4-FFF2-40B4-BE49-F238E27FC236}">
                  <a16:creationId xmlns:a16="http://schemas.microsoft.com/office/drawing/2014/main" id="{B36588BA-09DE-4DD2-BD59-F9FFB52E36D8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3" name="Oval 772">
              <a:extLst>
                <a:ext uri="{FF2B5EF4-FFF2-40B4-BE49-F238E27FC236}">
                  <a16:creationId xmlns:a16="http://schemas.microsoft.com/office/drawing/2014/main" id="{6AC16526-6E22-4B9A-B7D6-9CCC3E23949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4" name="Oval 773">
              <a:extLst>
                <a:ext uri="{FF2B5EF4-FFF2-40B4-BE49-F238E27FC236}">
                  <a16:creationId xmlns:a16="http://schemas.microsoft.com/office/drawing/2014/main" id="{65B97AFD-5D34-4FC7-8792-367961B6B75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75" name="Oval 774">
              <a:extLst>
                <a:ext uri="{FF2B5EF4-FFF2-40B4-BE49-F238E27FC236}">
                  <a16:creationId xmlns:a16="http://schemas.microsoft.com/office/drawing/2014/main" id="{4A18FEF9-DB9C-41D8-897D-5FFAD7484685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DE4F85B5-8D7E-4AE3-8131-6D9F0173065E}"/>
              </a:ext>
            </a:extLst>
          </p:cNvPr>
          <p:cNvGrpSpPr/>
          <p:nvPr/>
        </p:nvGrpSpPr>
        <p:grpSpPr>
          <a:xfrm>
            <a:off x="11859833" y="6196200"/>
            <a:ext cx="2609224" cy="643538"/>
            <a:chOff x="330424" y="3751799"/>
            <a:chExt cx="15193725" cy="3747377"/>
          </a:xfrm>
        </p:grpSpPr>
        <p:sp>
          <p:nvSpPr>
            <p:cNvPr id="658" name="Arrow: Pentagon 657">
              <a:extLst>
                <a:ext uri="{FF2B5EF4-FFF2-40B4-BE49-F238E27FC236}">
                  <a16:creationId xmlns:a16="http://schemas.microsoft.com/office/drawing/2014/main" id="{7FD99CB4-5FC5-48DE-9368-E2A905A961D9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5DA1C7D1-FB23-4273-B7D0-408F141C08C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791280A7-598B-485A-BFA4-F80BAA735A85}"/>
                </a:ext>
              </a:extLst>
            </p:cNvPr>
            <p:cNvCxnSpPr>
              <a:cxnSpLocks/>
              <a:endCxn id="69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1FA7DFD-724A-4E5E-928A-3882DDDB93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9DCAE51C-C314-4DFA-B66E-9ABF81A88F2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3" name="Straight Connector 662">
              <a:extLst>
                <a:ext uri="{FF2B5EF4-FFF2-40B4-BE49-F238E27FC236}">
                  <a16:creationId xmlns:a16="http://schemas.microsoft.com/office/drawing/2014/main" id="{FA86769F-0B19-49F9-9E08-FB91B877E4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50CBCBE2-16D6-4756-AE18-82E824438680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8124B106-8A81-4B80-9FD7-B88C9FE3E421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6F865777-C4C5-4F67-A35C-A8A180FA57E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9CB82C6-6152-476C-B832-B379E58527A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0B69AC65-8EF1-4E6C-BEDF-60DDEE92FE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7F219D09-6586-4123-9329-72831FFC27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1D1B0887-23E5-409E-8553-D218B1564709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C4010D17-46BB-45F5-B9A1-8C83C901ED36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8DA4977D-B284-4E20-A1A9-0E6E4AB3B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73" name="Group 672">
              <a:extLst>
                <a:ext uri="{FF2B5EF4-FFF2-40B4-BE49-F238E27FC236}">
                  <a16:creationId xmlns:a16="http://schemas.microsoft.com/office/drawing/2014/main" id="{C52071CE-9638-4254-99A7-50C6AB6D243E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96" name="Oval 695">
                <a:extLst>
                  <a:ext uri="{FF2B5EF4-FFF2-40B4-BE49-F238E27FC236}">
                    <a16:creationId xmlns:a16="http://schemas.microsoft.com/office/drawing/2014/main" id="{B9E39395-035C-4F81-A6C8-49DFD5F7B83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7" name="Oval 696">
                <a:extLst>
                  <a:ext uri="{FF2B5EF4-FFF2-40B4-BE49-F238E27FC236}">
                    <a16:creationId xmlns:a16="http://schemas.microsoft.com/office/drawing/2014/main" id="{FFDB2ABF-C854-4DCE-B462-D3E7782B7D0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8" name="Oval 697">
                <a:extLst>
                  <a:ext uri="{FF2B5EF4-FFF2-40B4-BE49-F238E27FC236}">
                    <a16:creationId xmlns:a16="http://schemas.microsoft.com/office/drawing/2014/main" id="{F6398A16-2B54-4B3B-820D-258F7C297483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9" name="Oval 698">
                <a:extLst>
                  <a:ext uri="{FF2B5EF4-FFF2-40B4-BE49-F238E27FC236}">
                    <a16:creationId xmlns:a16="http://schemas.microsoft.com/office/drawing/2014/main" id="{497C5A6B-E41D-4A2C-B31F-E840941881AA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F8E95F99-F81A-4CCD-8F17-50579C9AB84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C01AFF28-8216-4B88-B52F-FE49B0E8C0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C51B9A7A-29B6-4D86-89D8-8D3B7AF8F4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D8B738FA-4154-4EA9-8EB9-549E56C674A3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4DC242E2-B38E-435E-8352-01042872188F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329B81D3-FB44-4202-80A7-6868A9A7612A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0" name="Straight Connector 679">
              <a:extLst>
                <a:ext uri="{FF2B5EF4-FFF2-40B4-BE49-F238E27FC236}">
                  <a16:creationId xmlns:a16="http://schemas.microsoft.com/office/drawing/2014/main" id="{3DC6C95A-C170-487D-8A28-632554D9BD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960B3980-D869-4671-BD8C-CC94B3342FBF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92" name="Oval 691">
                <a:extLst>
                  <a:ext uri="{FF2B5EF4-FFF2-40B4-BE49-F238E27FC236}">
                    <a16:creationId xmlns:a16="http://schemas.microsoft.com/office/drawing/2014/main" id="{9EA67D3A-5CBB-4DED-81C4-7F4F0701A88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3" name="Oval 692">
                <a:extLst>
                  <a:ext uri="{FF2B5EF4-FFF2-40B4-BE49-F238E27FC236}">
                    <a16:creationId xmlns:a16="http://schemas.microsoft.com/office/drawing/2014/main" id="{832A02D9-9E55-47DA-AB76-A0FD3FAA5E1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08E7C14C-5E03-47E2-A48F-D0712F4BBAA1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5" name="Oval 694">
                <a:extLst>
                  <a:ext uri="{FF2B5EF4-FFF2-40B4-BE49-F238E27FC236}">
                    <a16:creationId xmlns:a16="http://schemas.microsoft.com/office/drawing/2014/main" id="{69EF9915-8738-4DAA-9F16-E129F8D69B9C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B3C56974-C24C-4D3E-8F22-DD88B0A52B51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C0B427FD-0A3F-4A84-BF0F-D464A7EBCE7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33E21FA-6C92-45FB-A7E1-09FC55D7CCA1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34CD798B-74A7-4AAC-89EB-2830C6CDDA93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9D7B21A1-1B99-40BE-A264-064F871E7C8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30548C90-A6D1-4AD5-BCFE-99A23742F724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3EEEA5A5-E470-424D-8A74-9B29BE67265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A36E4257-4236-4C3B-BD24-0D11A6E04D90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4A49024E-19E7-48B5-A316-CAA8D53B999D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28A84423-B972-4E53-8C53-5F3AB77CDF6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A0BC5850-0B4E-49A2-8A6E-0BD9884B2F60}"/>
              </a:ext>
            </a:extLst>
          </p:cNvPr>
          <p:cNvGrpSpPr/>
          <p:nvPr/>
        </p:nvGrpSpPr>
        <p:grpSpPr>
          <a:xfrm>
            <a:off x="8939804" y="6308525"/>
            <a:ext cx="2609224" cy="643538"/>
            <a:chOff x="330424" y="3751799"/>
            <a:chExt cx="15193725" cy="3747377"/>
          </a:xfrm>
        </p:grpSpPr>
        <p:sp>
          <p:nvSpPr>
            <p:cNvPr id="616" name="Arrow: Pentagon 615">
              <a:extLst>
                <a:ext uri="{FF2B5EF4-FFF2-40B4-BE49-F238E27FC236}">
                  <a16:creationId xmlns:a16="http://schemas.microsoft.com/office/drawing/2014/main" id="{0E4BF522-DD6B-42C6-9428-56772815608A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ECA86436-61D3-46CC-8E1F-CC76D02B729A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5B452C2B-E595-4889-B24E-EB4413B077D5}"/>
                </a:ext>
              </a:extLst>
            </p:cNvPr>
            <p:cNvCxnSpPr>
              <a:cxnSpLocks/>
              <a:endCxn id="654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94E82CD-8D8E-40D4-BC37-750DEBED3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E43ABBA3-C66F-439F-BC54-CEE29D51D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1A3FD6CE-6044-48B2-975B-316B8EA72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63AC02A8-CCB0-420F-812C-920297995333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23" name="Oval 622">
              <a:extLst>
                <a:ext uri="{FF2B5EF4-FFF2-40B4-BE49-F238E27FC236}">
                  <a16:creationId xmlns:a16="http://schemas.microsoft.com/office/drawing/2014/main" id="{0B12D8C6-3DB5-4AF1-B24D-004C9072EB7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E0ED83BC-2CE0-452C-B4E7-AE069A5C06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D506C2A8-E017-4172-823B-E59ED2714EC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089A159-A66B-4AE9-BBBE-765ED173AE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D1CE8A1-156A-4115-872C-A73DB864C5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5989F0C6-339E-4301-A6D7-FE1B457353BC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361C9601-EEE5-4B32-9F51-E071367605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85311114-30B0-456D-BAAB-5673A56C78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014E4E08-B2F4-4818-87E7-95E80703A5B5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54" name="Oval 653">
                <a:extLst>
                  <a:ext uri="{FF2B5EF4-FFF2-40B4-BE49-F238E27FC236}">
                    <a16:creationId xmlns:a16="http://schemas.microsoft.com/office/drawing/2014/main" id="{1A0D5E7F-3BDE-45FF-84C9-41ABB8095157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5" name="Oval 654">
                <a:extLst>
                  <a:ext uri="{FF2B5EF4-FFF2-40B4-BE49-F238E27FC236}">
                    <a16:creationId xmlns:a16="http://schemas.microsoft.com/office/drawing/2014/main" id="{3B790BD4-BAE2-443C-B0D4-2D64653038C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3DEB3B70-4D41-4B60-8953-FCD411B81D85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7" name="Oval 656">
                <a:extLst>
                  <a:ext uri="{FF2B5EF4-FFF2-40B4-BE49-F238E27FC236}">
                    <a16:creationId xmlns:a16="http://schemas.microsoft.com/office/drawing/2014/main" id="{D990B09F-D9E2-4033-BA19-FA0C4831761D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32" name="Oval 631">
              <a:extLst>
                <a:ext uri="{FF2B5EF4-FFF2-40B4-BE49-F238E27FC236}">
                  <a16:creationId xmlns:a16="http://schemas.microsoft.com/office/drawing/2014/main" id="{D77943FA-1D84-460A-8A77-35857BE6DE6B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9D8BE631-D67D-41BA-A520-CA8013FC70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97728FFA-6B8C-4232-9FAC-5E0D204208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0C35224C-8312-4510-A918-56029E6D2676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855D1768-3881-4886-A471-A32E9EA0F710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CC3A3D21-D8D7-4A4F-8BF7-5953EBAC366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757412B1-10F8-4726-A1A8-5DD2664BE9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639" name="Group 638">
              <a:extLst>
                <a:ext uri="{FF2B5EF4-FFF2-40B4-BE49-F238E27FC236}">
                  <a16:creationId xmlns:a16="http://schemas.microsoft.com/office/drawing/2014/main" id="{D7A949A6-CCBA-4190-A430-FBA52B8906F6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50" name="Oval 649">
                <a:extLst>
                  <a:ext uri="{FF2B5EF4-FFF2-40B4-BE49-F238E27FC236}">
                    <a16:creationId xmlns:a16="http://schemas.microsoft.com/office/drawing/2014/main" id="{8863B595-3BBE-4CCB-B3ED-804AF3B20C7B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1" name="Oval 650">
                <a:extLst>
                  <a:ext uri="{FF2B5EF4-FFF2-40B4-BE49-F238E27FC236}">
                    <a16:creationId xmlns:a16="http://schemas.microsoft.com/office/drawing/2014/main" id="{4A604FCD-25AC-44DB-82BF-A0CDCE6B3605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6B7C1321-88AD-4945-8CE9-0306E09F10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53" name="Oval 652">
                <a:extLst>
                  <a:ext uri="{FF2B5EF4-FFF2-40B4-BE49-F238E27FC236}">
                    <a16:creationId xmlns:a16="http://schemas.microsoft.com/office/drawing/2014/main" id="{AA2A8A1A-C276-49D2-8D02-9E451CA0D5BB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64343499-DBB5-4ABB-A645-532FAE7B9048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81199B31-EEE8-41D4-B903-B3A0E3F10B2E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E6A151D1-ECAD-46AE-A760-EE230FC28207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3" name="Oval 642">
              <a:extLst>
                <a:ext uri="{FF2B5EF4-FFF2-40B4-BE49-F238E27FC236}">
                  <a16:creationId xmlns:a16="http://schemas.microsoft.com/office/drawing/2014/main" id="{6591780D-04D9-4418-A587-66043078275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DBF5EAFE-0FB1-4B2B-AB3A-68B140D42F0D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5" name="Oval 644">
              <a:extLst>
                <a:ext uri="{FF2B5EF4-FFF2-40B4-BE49-F238E27FC236}">
                  <a16:creationId xmlns:a16="http://schemas.microsoft.com/office/drawing/2014/main" id="{C53C286C-1E56-4CEA-A941-2CAFDEC1EF2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6" name="Oval 645">
              <a:extLst>
                <a:ext uri="{FF2B5EF4-FFF2-40B4-BE49-F238E27FC236}">
                  <a16:creationId xmlns:a16="http://schemas.microsoft.com/office/drawing/2014/main" id="{32C5D1A9-262C-46AC-84F7-AE486524C8AD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7" name="Oval 646">
              <a:extLst>
                <a:ext uri="{FF2B5EF4-FFF2-40B4-BE49-F238E27FC236}">
                  <a16:creationId xmlns:a16="http://schemas.microsoft.com/office/drawing/2014/main" id="{5C9AA2FB-880D-41D0-A32E-20E660C8A4A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D0AFA22-CEB6-4884-9931-2FFF7478CCEB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49" name="Oval 648">
              <a:extLst>
                <a:ext uri="{FF2B5EF4-FFF2-40B4-BE49-F238E27FC236}">
                  <a16:creationId xmlns:a16="http://schemas.microsoft.com/office/drawing/2014/main" id="{D5F7AA49-5CAF-47BC-AFB7-6C255EABF72A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D4CE2A97-30E9-48A1-B12C-ECE6383FB89E}"/>
              </a:ext>
            </a:extLst>
          </p:cNvPr>
          <p:cNvGrpSpPr/>
          <p:nvPr/>
        </p:nvGrpSpPr>
        <p:grpSpPr>
          <a:xfrm>
            <a:off x="8574829" y="5186957"/>
            <a:ext cx="2609224" cy="643538"/>
            <a:chOff x="330424" y="3751799"/>
            <a:chExt cx="15193725" cy="3747377"/>
          </a:xfrm>
        </p:grpSpPr>
        <p:sp>
          <p:nvSpPr>
            <p:cNvPr id="574" name="Arrow: Pentagon 573">
              <a:extLst>
                <a:ext uri="{FF2B5EF4-FFF2-40B4-BE49-F238E27FC236}">
                  <a16:creationId xmlns:a16="http://schemas.microsoft.com/office/drawing/2014/main" id="{73AF45ED-3D83-4BCE-952B-A9ADE27E677C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DFE0E2D2-52B1-446F-9490-368B9BF414FC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B90A9EFE-1161-4F21-B004-A8A8CCE16E0C}"/>
                </a:ext>
              </a:extLst>
            </p:cNvPr>
            <p:cNvCxnSpPr>
              <a:cxnSpLocks/>
              <a:endCxn id="612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40048141-1D9F-45D0-87F2-6EC22ECE4D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CF41C0AD-CA83-4AE8-9B03-A7DAD4398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5BA6F3C4-1D30-4EBB-B786-C241D0EA37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B5DAE053-9517-486A-957C-3782E7A98FD1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49CCA336-B93F-4014-91A5-108F4C705784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F224D670-3064-4294-842C-61CD0D0C37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6EAB0200-6286-4A19-8B90-B08F5A4CA9D1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3E06DC60-3901-4833-BF1C-EBDB894328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1F2D29F7-2595-4DD7-91A3-3614FDC72A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646C9CF-F99A-49C4-884B-74E0C3AA5BB3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E2523E82-C92C-46FF-A7FD-4BA32474F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F58E22DF-8260-4927-B27C-598D961A8A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A5E87FCD-3AAF-4F50-B243-94B3C9B3E7FA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AD1DA9B-3AB8-46B6-A921-FF0CA2CEC270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570DD62E-0F77-452F-95B3-80702C11D709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3D5D9AC6-CA32-42F7-9988-B67557B2109A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A9EAC213-E78F-47DE-AAF7-62F26DF303AC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0" name="Oval 589">
              <a:extLst>
                <a:ext uri="{FF2B5EF4-FFF2-40B4-BE49-F238E27FC236}">
                  <a16:creationId xmlns:a16="http://schemas.microsoft.com/office/drawing/2014/main" id="{01439655-D2EF-4699-BE21-EED37C5CAEB9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7A18D2F3-463D-4384-9D60-E123C34390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23758D9-501A-4B9F-A11C-0E2271516D1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93" name="Oval 592">
              <a:extLst>
                <a:ext uri="{FF2B5EF4-FFF2-40B4-BE49-F238E27FC236}">
                  <a16:creationId xmlns:a16="http://schemas.microsoft.com/office/drawing/2014/main" id="{98F25BDD-DED9-4E11-BD80-B806CA5DB6BE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94" name="Oval 593">
              <a:extLst>
                <a:ext uri="{FF2B5EF4-FFF2-40B4-BE49-F238E27FC236}">
                  <a16:creationId xmlns:a16="http://schemas.microsoft.com/office/drawing/2014/main" id="{E838A88D-F62E-467E-BF62-44E47A187834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A1F74D45-710E-4E79-B73B-614D7C9857C5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639B6CCD-C1D0-4E88-81EF-3ABA23831F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97" name="Group 596">
              <a:extLst>
                <a:ext uri="{FF2B5EF4-FFF2-40B4-BE49-F238E27FC236}">
                  <a16:creationId xmlns:a16="http://schemas.microsoft.com/office/drawing/2014/main" id="{454EA6DB-B17E-4A93-94F4-77E000FA00E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5E4D46B7-1D6C-473C-B0B9-E3A9BB2C7B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29CB1F77-CE69-41D1-B582-5917E8D156DD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CFF8310-06F1-4BE7-B93A-D7199AF5EA80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3B6C1286-4190-42D4-8BA5-67423F401A57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52C70A94-68A0-4C2E-B1F4-83979AE8B664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99" name="Oval 598">
              <a:extLst>
                <a:ext uri="{FF2B5EF4-FFF2-40B4-BE49-F238E27FC236}">
                  <a16:creationId xmlns:a16="http://schemas.microsoft.com/office/drawing/2014/main" id="{5CC35C9B-7021-4520-A621-5F89B0C5C7BA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0" name="Oval 599">
              <a:extLst>
                <a:ext uri="{FF2B5EF4-FFF2-40B4-BE49-F238E27FC236}">
                  <a16:creationId xmlns:a16="http://schemas.microsoft.com/office/drawing/2014/main" id="{72BCE379-F25D-4ABE-A7A5-92B6D90EF884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1" name="Oval 600">
              <a:extLst>
                <a:ext uri="{FF2B5EF4-FFF2-40B4-BE49-F238E27FC236}">
                  <a16:creationId xmlns:a16="http://schemas.microsoft.com/office/drawing/2014/main" id="{1E700C57-4EDC-4BA4-85D6-2F854D40220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2" name="Oval 601">
              <a:extLst>
                <a:ext uri="{FF2B5EF4-FFF2-40B4-BE49-F238E27FC236}">
                  <a16:creationId xmlns:a16="http://schemas.microsoft.com/office/drawing/2014/main" id="{7B7939DF-CC19-449D-BA6B-D08AC97B2AC4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3" name="Oval 602">
              <a:extLst>
                <a:ext uri="{FF2B5EF4-FFF2-40B4-BE49-F238E27FC236}">
                  <a16:creationId xmlns:a16="http://schemas.microsoft.com/office/drawing/2014/main" id="{625B94F0-D778-4BE0-9831-F073724D87E2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4" name="Oval 603">
              <a:extLst>
                <a:ext uri="{FF2B5EF4-FFF2-40B4-BE49-F238E27FC236}">
                  <a16:creationId xmlns:a16="http://schemas.microsoft.com/office/drawing/2014/main" id="{CBA179C5-76D4-4D37-A6BB-59D45009FF1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5" name="Oval 604">
              <a:extLst>
                <a:ext uri="{FF2B5EF4-FFF2-40B4-BE49-F238E27FC236}">
                  <a16:creationId xmlns:a16="http://schemas.microsoft.com/office/drawing/2014/main" id="{F04E218F-F9C0-4736-8669-A03B7F938726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42D6EBA9-8EC5-40FF-BD8A-0FA3EEDD9377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32C2A918-DFA0-4FBE-BD85-D01F2694535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7F429F5-9265-4695-B6F8-75A3BA2831EE}"/>
              </a:ext>
            </a:extLst>
          </p:cNvPr>
          <p:cNvGrpSpPr/>
          <p:nvPr/>
        </p:nvGrpSpPr>
        <p:grpSpPr>
          <a:xfrm>
            <a:off x="11728307" y="4662939"/>
            <a:ext cx="2609224" cy="643538"/>
            <a:chOff x="330424" y="3751799"/>
            <a:chExt cx="15193725" cy="3747377"/>
          </a:xfrm>
        </p:grpSpPr>
        <p:sp>
          <p:nvSpPr>
            <p:cNvPr id="532" name="Arrow: Pentagon 531">
              <a:extLst>
                <a:ext uri="{FF2B5EF4-FFF2-40B4-BE49-F238E27FC236}">
                  <a16:creationId xmlns:a16="http://schemas.microsoft.com/office/drawing/2014/main" id="{505999C5-0B00-4EC8-BA2F-1D047FB4EDE5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541B5C8F-70B3-4ECB-A509-99526C598301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DDDA5102-2E43-44CC-866C-7A524EA9AD65}"/>
                </a:ext>
              </a:extLst>
            </p:cNvPr>
            <p:cNvCxnSpPr>
              <a:cxnSpLocks/>
              <a:endCxn id="570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178F730-2D66-4F68-B665-34041B7F1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6" name="Straight Connector 535">
              <a:extLst>
                <a:ext uri="{FF2B5EF4-FFF2-40B4-BE49-F238E27FC236}">
                  <a16:creationId xmlns:a16="http://schemas.microsoft.com/office/drawing/2014/main" id="{2BE80CA0-3689-49C8-8F31-E21BA13A0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1622C3B2-CC01-4D57-A9BD-E2A1B313BC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38" name="Oval 537">
              <a:extLst>
                <a:ext uri="{FF2B5EF4-FFF2-40B4-BE49-F238E27FC236}">
                  <a16:creationId xmlns:a16="http://schemas.microsoft.com/office/drawing/2014/main" id="{3FF2093F-8947-4593-899A-D17688D779E4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39" name="Oval 538">
              <a:extLst>
                <a:ext uri="{FF2B5EF4-FFF2-40B4-BE49-F238E27FC236}">
                  <a16:creationId xmlns:a16="http://schemas.microsoft.com/office/drawing/2014/main" id="{9087CB07-B041-4417-8C4D-23F4F08AD7D9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968FB0C7-AC48-4BFB-8A97-F615D2E57D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1" name="Straight Connector 540">
              <a:extLst>
                <a:ext uri="{FF2B5EF4-FFF2-40B4-BE49-F238E27FC236}">
                  <a16:creationId xmlns:a16="http://schemas.microsoft.com/office/drawing/2014/main" id="{5E3C1FDE-E40F-42AB-8CCE-9DC34097A7ED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AF328D83-641C-4E16-854A-32CEA7EE0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F983CE3A-7FD2-4ED2-946A-92588173F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F8402752-3178-4FC1-AA07-3E720C0E3E0F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2119F1F6-5D65-4F70-980A-12CC27B04528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BC868CD7-AD3E-426D-BAF4-EFC9203696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CE92C4D0-BDCE-431D-96D0-0037CCF1FA53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2694ACE2-DB37-49BF-9CA2-FE3104C09F1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4114612C-D30B-406C-BA48-1C6A1608D8DC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ECF8DAD0-DBE1-4D9B-8244-34673961229F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714CE336-CB16-4332-8FD4-BF129F171013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48" name="Oval 547">
              <a:extLst>
                <a:ext uri="{FF2B5EF4-FFF2-40B4-BE49-F238E27FC236}">
                  <a16:creationId xmlns:a16="http://schemas.microsoft.com/office/drawing/2014/main" id="{2782B6F4-CC43-4A5B-9256-F7A077AB058F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C6FE0F79-3476-49D8-8B5B-265B99B6C7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2970595-4549-41F3-82BD-A3A2D8734C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6411FDB5-DF7E-4392-8463-950C955CC7BF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9A33171E-AD01-4DE7-B964-66211C1886F8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C895C77-534A-4D43-86E7-BC1A9A99573C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A8F8DA32-D765-44CE-A93B-385AD675E3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7561FDD-869C-49AA-9A77-BE7BF93164B4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5BC4687C-AC0A-4F24-AD4C-24D448B11B14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C912DA9B-958C-4AEB-8886-95F98E365CE1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D97007F9-A72D-4DAD-A984-D8683B19D1B9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7564999C-A7F1-4F0B-A4DC-217D1D292FC9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D9FC74DC-27D5-4275-B714-C1127F11F3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13C86B6E-F6A6-49E3-B91D-D23B878E81F8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C1E28E94-7B8D-4D36-970E-A98A741D05F8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5463F0F1-C917-43EB-8B75-2FCC0BA9F8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C9CD38FF-01A5-4855-B024-AD3664BC9F3F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FCC9F4BA-4999-4FDF-8DBE-7BEEA1010158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A885EE63-AFAC-456B-B0C9-20ADBBCF61E5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DADF4997-9A43-478A-9AB5-5A72B65BBB34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C80984D8-9844-4A52-BBAB-9F30593AC0EE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65" name="Oval 564">
              <a:extLst>
                <a:ext uri="{FF2B5EF4-FFF2-40B4-BE49-F238E27FC236}">
                  <a16:creationId xmlns:a16="http://schemas.microsoft.com/office/drawing/2014/main" id="{AD99AFCF-02BA-4B89-A427-CAE88E370F9B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C750DB56-4FD9-4852-98E2-910793138BBF}"/>
              </a:ext>
            </a:extLst>
          </p:cNvPr>
          <p:cNvGrpSpPr/>
          <p:nvPr/>
        </p:nvGrpSpPr>
        <p:grpSpPr>
          <a:xfrm>
            <a:off x="11028278" y="2135247"/>
            <a:ext cx="2609224" cy="643538"/>
            <a:chOff x="330424" y="3751799"/>
            <a:chExt cx="15193725" cy="3747377"/>
          </a:xfrm>
        </p:grpSpPr>
        <p:sp>
          <p:nvSpPr>
            <p:cNvPr id="995" name="Arrow: Pentagon 994">
              <a:extLst>
                <a:ext uri="{FF2B5EF4-FFF2-40B4-BE49-F238E27FC236}">
                  <a16:creationId xmlns:a16="http://schemas.microsoft.com/office/drawing/2014/main" id="{F0689561-9198-4340-A6C7-E379B73AB7AF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996" name="Straight Connector 995">
              <a:extLst>
                <a:ext uri="{FF2B5EF4-FFF2-40B4-BE49-F238E27FC236}">
                  <a16:creationId xmlns:a16="http://schemas.microsoft.com/office/drawing/2014/main" id="{31EAA6F5-80B6-4B22-B02D-70C90F9EDDD4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7" name="Straight Connector 996">
              <a:extLst>
                <a:ext uri="{FF2B5EF4-FFF2-40B4-BE49-F238E27FC236}">
                  <a16:creationId xmlns:a16="http://schemas.microsoft.com/office/drawing/2014/main" id="{891D515E-3D28-4B30-94ED-9E17F0149D76}"/>
                </a:ext>
              </a:extLst>
            </p:cNvPr>
            <p:cNvCxnSpPr>
              <a:cxnSpLocks/>
              <a:endCxn id="1033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8" name="Straight Connector 997">
              <a:extLst>
                <a:ext uri="{FF2B5EF4-FFF2-40B4-BE49-F238E27FC236}">
                  <a16:creationId xmlns:a16="http://schemas.microsoft.com/office/drawing/2014/main" id="{AF96CBA6-5E30-4CAC-A607-96BEB3C613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9" name="Straight Connector 998">
              <a:extLst>
                <a:ext uri="{FF2B5EF4-FFF2-40B4-BE49-F238E27FC236}">
                  <a16:creationId xmlns:a16="http://schemas.microsoft.com/office/drawing/2014/main" id="{14D67CC4-534B-4736-A043-FED6594493C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0" name="Straight Connector 999">
              <a:extLst>
                <a:ext uri="{FF2B5EF4-FFF2-40B4-BE49-F238E27FC236}">
                  <a16:creationId xmlns:a16="http://schemas.microsoft.com/office/drawing/2014/main" id="{86D666DE-D68B-4243-8D35-F7A4A8DCCE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01" name="Oval 1000">
              <a:extLst>
                <a:ext uri="{FF2B5EF4-FFF2-40B4-BE49-F238E27FC236}">
                  <a16:creationId xmlns:a16="http://schemas.microsoft.com/office/drawing/2014/main" id="{86D7EBFF-6828-43F1-A0AD-0A0F11ABB785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02" name="Oval 1001">
              <a:extLst>
                <a:ext uri="{FF2B5EF4-FFF2-40B4-BE49-F238E27FC236}">
                  <a16:creationId xmlns:a16="http://schemas.microsoft.com/office/drawing/2014/main" id="{4ABAF847-4BCC-47E7-B45C-BC64C0FECCD0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id="{FA23B08E-7547-4647-81FA-308940C202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437EED3F-9FFF-46D3-844E-4BE5C880CB23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DBA36279-B4E2-4379-8B10-A1CD292EC8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6" name="Straight Connector 1005">
              <a:extLst>
                <a:ext uri="{FF2B5EF4-FFF2-40B4-BE49-F238E27FC236}">
                  <a16:creationId xmlns:a16="http://schemas.microsoft.com/office/drawing/2014/main" id="{77ABF8FE-D51B-4E22-AA7A-5A2B6FEE0C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7" name="Straight Connector 1006">
              <a:extLst>
                <a:ext uri="{FF2B5EF4-FFF2-40B4-BE49-F238E27FC236}">
                  <a16:creationId xmlns:a16="http://schemas.microsoft.com/office/drawing/2014/main" id="{E40637E0-8596-4078-9AA2-414EFE81B200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8" name="Straight Connector 1007">
              <a:extLst>
                <a:ext uri="{FF2B5EF4-FFF2-40B4-BE49-F238E27FC236}">
                  <a16:creationId xmlns:a16="http://schemas.microsoft.com/office/drawing/2014/main" id="{4A4B4CDF-9508-4607-9D44-BC5EDBEEC0D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9" name="Straight Connector 1008">
              <a:extLst>
                <a:ext uri="{FF2B5EF4-FFF2-40B4-BE49-F238E27FC236}">
                  <a16:creationId xmlns:a16="http://schemas.microsoft.com/office/drawing/2014/main" id="{A68BCF02-D8E3-46E4-B94B-5C385009D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04A3AD77-8B85-49A6-8781-35389538E477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F178FFBA-E0E4-4EF5-9561-A1883BE85BEB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33D9D8A4-B9AE-46B3-AA94-1573DD839873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B29B0A91-4AAC-439E-BD77-36D21B77B594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7E22C534-A9B8-4CF8-8F44-CD21617F175E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576CC208-3DCD-4D33-9621-D42569D7C2A5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12" name="Straight Connector 1011">
              <a:extLst>
                <a:ext uri="{FF2B5EF4-FFF2-40B4-BE49-F238E27FC236}">
                  <a16:creationId xmlns:a16="http://schemas.microsoft.com/office/drawing/2014/main" id="{858EB849-9BE6-4A81-BDEE-ABCE0728C0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3" name="Straight Connector 1012">
              <a:extLst>
                <a:ext uri="{FF2B5EF4-FFF2-40B4-BE49-F238E27FC236}">
                  <a16:creationId xmlns:a16="http://schemas.microsoft.com/office/drawing/2014/main" id="{65309665-D295-4965-8EF5-3FA8B6C62B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4" name="Oval 1013">
              <a:extLst>
                <a:ext uri="{FF2B5EF4-FFF2-40B4-BE49-F238E27FC236}">
                  <a16:creationId xmlns:a16="http://schemas.microsoft.com/office/drawing/2014/main" id="{3DBF54A8-85FE-483B-B8ED-12F06E6547A8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15" name="Oval 1014">
              <a:extLst>
                <a:ext uri="{FF2B5EF4-FFF2-40B4-BE49-F238E27FC236}">
                  <a16:creationId xmlns:a16="http://schemas.microsoft.com/office/drawing/2014/main" id="{2570AA91-4EDA-4D26-936E-63EBF42BD7DE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16" name="Straight Connector 1015">
              <a:extLst>
                <a:ext uri="{FF2B5EF4-FFF2-40B4-BE49-F238E27FC236}">
                  <a16:creationId xmlns:a16="http://schemas.microsoft.com/office/drawing/2014/main" id="{7DF382DC-2E47-4049-B384-8B370D2C0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7" name="Straight Connector 1016">
              <a:extLst>
                <a:ext uri="{FF2B5EF4-FFF2-40B4-BE49-F238E27FC236}">
                  <a16:creationId xmlns:a16="http://schemas.microsoft.com/office/drawing/2014/main" id="{42D40597-A25F-4B1E-97D2-D341B5109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18" name="Group 1017">
              <a:extLst>
                <a:ext uri="{FF2B5EF4-FFF2-40B4-BE49-F238E27FC236}">
                  <a16:creationId xmlns:a16="http://schemas.microsoft.com/office/drawing/2014/main" id="{06BA71D6-0D99-4A99-8984-D1493224C3D8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FF1F03A7-D677-40D0-9D5B-478E3800201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4D297520-FCA7-4C41-A16F-8766B4A74AD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684016FC-1DC4-4372-923D-36050813F35C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BCC291D0-6DA3-4D5A-ADDA-2EC531D3D39F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19" name="Oval 1018">
              <a:extLst>
                <a:ext uri="{FF2B5EF4-FFF2-40B4-BE49-F238E27FC236}">
                  <a16:creationId xmlns:a16="http://schemas.microsoft.com/office/drawing/2014/main" id="{A939377C-9FD4-47F9-90A5-5122D86B1EBF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0" name="Oval 1019">
              <a:extLst>
                <a:ext uri="{FF2B5EF4-FFF2-40B4-BE49-F238E27FC236}">
                  <a16:creationId xmlns:a16="http://schemas.microsoft.com/office/drawing/2014/main" id="{32504989-34AA-4DC1-92AC-86210D15CBA9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1" name="Oval 1020">
              <a:extLst>
                <a:ext uri="{FF2B5EF4-FFF2-40B4-BE49-F238E27FC236}">
                  <a16:creationId xmlns:a16="http://schemas.microsoft.com/office/drawing/2014/main" id="{C6B9F133-88BD-4D8C-9415-E51193B3AA0D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2" name="Oval 1021">
              <a:extLst>
                <a:ext uri="{FF2B5EF4-FFF2-40B4-BE49-F238E27FC236}">
                  <a16:creationId xmlns:a16="http://schemas.microsoft.com/office/drawing/2014/main" id="{73B828A6-F990-4A18-BC2D-5327D98580A1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3" name="Oval 1022">
              <a:extLst>
                <a:ext uri="{FF2B5EF4-FFF2-40B4-BE49-F238E27FC236}">
                  <a16:creationId xmlns:a16="http://schemas.microsoft.com/office/drawing/2014/main" id="{C6391F50-0861-4716-8074-697D55F12270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4" name="Oval 1023">
              <a:extLst>
                <a:ext uri="{FF2B5EF4-FFF2-40B4-BE49-F238E27FC236}">
                  <a16:creationId xmlns:a16="http://schemas.microsoft.com/office/drawing/2014/main" id="{FB335865-085F-4EC3-92A0-7183127EE1E1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5" name="Oval 1024">
              <a:extLst>
                <a:ext uri="{FF2B5EF4-FFF2-40B4-BE49-F238E27FC236}">
                  <a16:creationId xmlns:a16="http://schemas.microsoft.com/office/drawing/2014/main" id="{85DEDE97-C266-44C0-81B6-841BD0392799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14A31B08-BC31-4950-BDE0-0B729FD60A02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C8C06565-E359-41D8-A95B-C997A525B62A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3418E4F1-F294-433E-AE19-541C55C1AFB0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F97684-E800-4621-8ECB-79513BC37FBE}"/>
              </a:ext>
            </a:extLst>
          </p:cNvPr>
          <p:cNvGrpSpPr/>
          <p:nvPr/>
        </p:nvGrpSpPr>
        <p:grpSpPr>
          <a:xfrm>
            <a:off x="534986" y="6355596"/>
            <a:ext cx="2609224" cy="643538"/>
            <a:chOff x="330424" y="3751799"/>
            <a:chExt cx="15193725" cy="3747377"/>
          </a:xfrm>
        </p:grpSpPr>
        <p:sp>
          <p:nvSpPr>
            <p:cNvPr id="1038" name="Arrow: Pentagon 1037">
              <a:extLst>
                <a:ext uri="{FF2B5EF4-FFF2-40B4-BE49-F238E27FC236}">
                  <a16:creationId xmlns:a16="http://schemas.microsoft.com/office/drawing/2014/main" id="{68CE24EE-29BB-43E2-B5CA-A0B8C57F86AB}"/>
                </a:ext>
              </a:extLst>
            </p:cNvPr>
            <p:cNvSpPr/>
            <p:nvPr/>
          </p:nvSpPr>
          <p:spPr>
            <a:xfrm>
              <a:off x="330424" y="3751799"/>
              <a:ext cx="15193725" cy="3747377"/>
            </a:xfrm>
            <a:prstGeom prst="homePlate">
              <a:avLst>
                <a:gd name="adj" fmla="val 33230"/>
              </a:avLst>
            </a:prstGeom>
            <a:solidFill>
              <a:schemeClr val="accent2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39" name="Straight Connector 1038">
              <a:extLst>
                <a:ext uri="{FF2B5EF4-FFF2-40B4-BE49-F238E27FC236}">
                  <a16:creationId xmlns:a16="http://schemas.microsoft.com/office/drawing/2014/main" id="{4555FE43-BE3E-43E0-A506-11AF33512647}"/>
                </a:ext>
              </a:extLst>
            </p:cNvPr>
            <p:cNvCxnSpPr>
              <a:cxnSpLocks/>
            </p:cNvCxnSpPr>
            <p:nvPr/>
          </p:nvCxnSpPr>
          <p:spPr>
            <a:xfrm>
              <a:off x="6772589" y="4958458"/>
              <a:ext cx="1932308" cy="66129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8C0C5F1E-9BEB-4152-A9EC-67BFCBB7761D}"/>
                </a:ext>
              </a:extLst>
            </p:cNvPr>
            <p:cNvCxnSpPr>
              <a:cxnSpLocks/>
              <a:endCxn id="1076" idx="6"/>
            </p:cNvCxnSpPr>
            <p:nvPr/>
          </p:nvCxnSpPr>
          <p:spPr>
            <a:xfrm flipH="1">
              <a:off x="9313936" y="5612638"/>
              <a:ext cx="4084932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1" name="Straight Connector 1040">
              <a:extLst>
                <a:ext uri="{FF2B5EF4-FFF2-40B4-BE49-F238E27FC236}">
                  <a16:creationId xmlns:a16="http://schemas.microsoft.com/office/drawing/2014/main" id="{7AA48440-E1D4-4A1A-A428-4FFCC30E13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38260" y="5611671"/>
              <a:ext cx="1985519" cy="87836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2" name="Straight Connector 1041">
              <a:extLst>
                <a:ext uri="{FF2B5EF4-FFF2-40B4-BE49-F238E27FC236}">
                  <a16:creationId xmlns:a16="http://schemas.microsoft.com/office/drawing/2014/main" id="{5C24E747-970A-41DE-88C5-07E291F84BB5}"/>
                </a:ext>
              </a:extLst>
            </p:cNvPr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F10DE23-44A0-4E1B-B182-D062E1EE3F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1E7104EE-149D-42AF-B55A-10E5A895254C}"/>
                </a:ext>
              </a:extLst>
            </p:cNvPr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45" name="Oval 1044">
              <a:extLst>
                <a:ext uri="{FF2B5EF4-FFF2-40B4-BE49-F238E27FC236}">
                  <a16:creationId xmlns:a16="http://schemas.microsoft.com/office/drawing/2014/main" id="{7CE5AC40-E9B5-40E4-8F16-48FBE5924CAD}"/>
                </a:ext>
              </a:extLst>
            </p:cNvPr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A31933E5-C5A4-49E5-864D-8EED6C18A46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7" name="Straight Connector 1046">
              <a:extLst>
                <a:ext uri="{FF2B5EF4-FFF2-40B4-BE49-F238E27FC236}">
                  <a16:creationId xmlns:a16="http://schemas.microsoft.com/office/drawing/2014/main" id="{529E9993-F2F6-427F-B212-24585AEB2940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93" y="5621439"/>
              <a:ext cx="1350198" cy="1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8" name="Straight Connector 1047">
              <a:extLst>
                <a:ext uri="{FF2B5EF4-FFF2-40B4-BE49-F238E27FC236}">
                  <a16:creationId xmlns:a16="http://schemas.microsoft.com/office/drawing/2014/main" id="{7F6D6A2D-06DF-4B23-9264-84ADD2B5F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8091" y="5060276"/>
              <a:ext cx="1282614" cy="55139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9" name="Straight Connector 1048">
              <a:extLst>
                <a:ext uri="{FF2B5EF4-FFF2-40B4-BE49-F238E27FC236}">
                  <a16:creationId xmlns:a16="http://schemas.microsoft.com/office/drawing/2014/main" id="{62A02F9C-4C29-46DD-A313-10F19D2D7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0" name="Straight Connector 1049">
              <a:extLst>
                <a:ext uri="{FF2B5EF4-FFF2-40B4-BE49-F238E27FC236}">
                  <a16:creationId xmlns:a16="http://schemas.microsoft.com/office/drawing/2014/main" id="{D228F142-A702-4140-BF16-B131491A1B16}"/>
                </a:ext>
              </a:extLst>
            </p:cNvPr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1" name="Straight Connector 1050">
              <a:extLst>
                <a:ext uri="{FF2B5EF4-FFF2-40B4-BE49-F238E27FC236}">
                  <a16:creationId xmlns:a16="http://schemas.microsoft.com/office/drawing/2014/main" id="{485912D0-6A79-4916-B795-DAC4724B38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2" name="Straight Connector 1051">
              <a:extLst>
                <a:ext uri="{FF2B5EF4-FFF2-40B4-BE49-F238E27FC236}">
                  <a16:creationId xmlns:a16="http://schemas.microsoft.com/office/drawing/2014/main" id="{B0EE7D77-D636-431A-B219-F36F4D0FC2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198F16D1-A7FA-462A-9403-01A6A763C992}"/>
                </a:ext>
              </a:extLst>
            </p:cNvPr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03203DAF-1446-4CE6-A0E3-519339BB6E3C}"/>
                  </a:ext>
                </a:extLst>
              </p:cNvPr>
              <p:cNvSpPr/>
              <p:nvPr/>
            </p:nvSpPr>
            <p:spPr>
              <a:xfrm>
                <a:off x="7779176" y="5041615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7" name="Oval 1076">
                <a:extLst>
                  <a:ext uri="{FF2B5EF4-FFF2-40B4-BE49-F238E27FC236}">
                    <a16:creationId xmlns:a16="http://schemas.microsoft.com/office/drawing/2014/main" id="{92C31502-D7C1-4FC4-A9A5-E5438960CCF5}"/>
                  </a:ext>
                </a:extLst>
              </p:cNvPr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8" name="Oval 1077">
                <a:extLst>
                  <a:ext uri="{FF2B5EF4-FFF2-40B4-BE49-F238E27FC236}">
                    <a16:creationId xmlns:a16="http://schemas.microsoft.com/office/drawing/2014/main" id="{60FBA64F-22E9-4124-928E-0479B368288E}"/>
                  </a:ext>
                </a:extLst>
              </p:cNvPr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A3E028BB-ED01-4A63-8D42-9A5BFAE804B9}"/>
                  </a:ext>
                </a:extLst>
              </p:cNvPr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498B6378-1CE0-4BC7-8C0F-385D71595342}"/>
                </a:ext>
              </a:extLst>
            </p:cNvPr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55" name="Straight Connector 1054">
              <a:extLst>
                <a:ext uri="{FF2B5EF4-FFF2-40B4-BE49-F238E27FC236}">
                  <a16:creationId xmlns:a16="http://schemas.microsoft.com/office/drawing/2014/main" id="{0971A626-8942-405A-9598-F84B17537F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D3102804-52F5-4E74-9821-83A14FDE9B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57" name="Oval 1056">
              <a:extLst>
                <a:ext uri="{FF2B5EF4-FFF2-40B4-BE49-F238E27FC236}">
                  <a16:creationId xmlns:a16="http://schemas.microsoft.com/office/drawing/2014/main" id="{AB273E9A-2044-4DA3-B540-85B727524A4C}"/>
                </a:ext>
              </a:extLst>
            </p:cNvPr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058" name="Oval 1057">
              <a:extLst>
                <a:ext uri="{FF2B5EF4-FFF2-40B4-BE49-F238E27FC236}">
                  <a16:creationId xmlns:a16="http://schemas.microsoft.com/office/drawing/2014/main" id="{15D9076A-23B9-4DA5-9749-738589467CA6}"/>
                </a:ext>
              </a:extLst>
            </p:cNvPr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100" b="1" dirty="0"/>
            </a:p>
          </p:txBody>
        </p: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0F294B17-8B69-4DE8-8443-E9DE43016572}"/>
                </a:ext>
              </a:extLst>
            </p:cNvPr>
            <p:cNvCxnSpPr>
              <a:cxnSpLocks/>
            </p:cNvCxnSpPr>
            <p:nvPr/>
          </p:nvCxnSpPr>
          <p:spPr>
            <a:xfrm>
              <a:off x="5411656" y="5644157"/>
              <a:ext cx="1326604" cy="826763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0" name="Straight Connector 1059">
              <a:extLst>
                <a:ext uri="{FF2B5EF4-FFF2-40B4-BE49-F238E27FC236}">
                  <a16:creationId xmlns:a16="http://schemas.microsoft.com/office/drawing/2014/main" id="{B6803F81-FEE3-40B9-8021-BA4454C5C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0366" y="5060276"/>
              <a:ext cx="0" cy="1386244"/>
            </a:xfrm>
            <a:prstGeom prst="line">
              <a:avLst/>
            </a:prstGeom>
            <a:ln w="19050" cap="sq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E7679D80-E8A7-43CB-82F5-ACDE8F4B7AAC}"/>
                </a:ext>
              </a:extLst>
            </p:cNvPr>
            <p:cNvGrpSpPr/>
            <p:nvPr/>
          </p:nvGrpSpPr>
          <p:grpSpPr>
            <a:xfrm>
              <a:off x="3550072" y="4371406"/>
              <a:ext cx="3752738" cy="2636278"/>
              <a:chOff x="3519130" y="4371406"/>
              <a:chExt cx="3752738" cy="2636278"/>
            </a:xfrm>
          </p:grpSpPr>
          <p:sp>
            <p:nvSpPr>
              <p:cNvPr id="1072" name="Oval 1071">
                <a:extLst>
                  <a:ext uri="{FF2B5EF4-FFF2-40B4-BE49-F238E27FC236}">
                    <a16:creationId xmlns:a16="http://schemas.microsoft.com/office/drawing/2014/main" id="{7BE89B88-BF88-416B-B472-DDF863A3C39E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AE99BA46-9866-4F5F-8795-2C50CF509F2C}"/>
                  </a:ext>
                </a:extLst>
              </p:cNvPr>
              <p:cNvSpPr/>
              <p:nvPr/>
            </p:nvSpPr>
            <p:spPr>
              <a:xfrm>
                <a:off x="4866928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4" name="Oval 1073">
                <a:extLst>
                  <a:ext uri="{FF2B5EF4-FFF2-40B4-BE49-F238E27FC236}">
                    <a16:creationId xmlns:a16="http://schemas.microsoft.com/office/drawing/2014/main" id="{1D65918B-BC0D-42D8-9FC0-6E40A07C54F8}"/>
                  </a:ext>
                </a:extLst>
              </p:cNvPr>
              <p:cNvSpPr/>
              <p:nvPr/>
            </p:nvSpPr>
            <p:spPr>
              <a:xfrm>
                <a:off x="6149541" y="437140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5" name="Oval 1074">
                <a:extLst>
                  <a:ext uri="{FF2B5EF4-FFF2-40B4-BE49-F238E27FC236}">
                    <a16:creationId xmlns:a16="http://schemas.microsoft.com/office/drawing/2014/main" id="{64693E27-AC75-43CE-9767-31D2265E93C0}"/>
                  </a:ext>
                </a:extLst>
              </p:cNvPr>
              <p:cNvSpPr/>
              <p:nvPr/>
            </p:nvSpPr>
            <p:spPr>
              <a:xfrm>
                <a:off x="6139203" y="5885357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62" name="Oval 1061">
              <a:extLst>
                <a:ext uri="{FF2B5EF4-FFF2-40B4-BE49-F238E27FC236}">
                  <a16:creationId xmlns:a16="http://schemas.microsoft.com/office/drawing/2014/main" id="{7D854E29-DE5B-4D23-A7F4-089805F4B407}"/>
                </a:ext>
              </a:extLst>
            </p:cNvPr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3" name="Oval 1062">
              <a:extLst>
                <a:ext uri="{FF2B5EF4-FFF2-40B4-BE49-F238E27FC236}">
                  <a16:creationId xmlns:a16="http://schemas.microsoft.com/office/drawing/2014/main" id="{19C12530-ADAE-42F3-BF96-6E2F797FFA21}"/>
                </a:ext>
              </a:extLst>
            </p:cNvPr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4" name="Oval 1063">
              <a:extLst>
                <a:ext uri="{FF2B5EF4-FFF2-40B4-BE49-F238E27FC236}">
                  <a16:creationId xmlns:a16="http://schemas.microsoft.com/office/drawing/2014/main" id="{AD7F837C-BDAC-4356-ACFD-D5435ED1C8BC}"/>
                </a:ext>
              </a:extLst>
            </p:cNvPr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5" name="Oval 1064">
              <a:extLst>
                <a:ext uri="{FF2B5EF4-FFF2-40B4-BE49-F238E27FC236}">
                  <a16:creationId xmlns:a16="http://schemas.microsoft.com/office/drawing/2014/main" id="{199E57B7-A7E3-41F8-BB3C-E75DC038F11C}"/>
                </a:ext>
              </a:extLst>
            </p:cNvPr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6" name="Oval 1065">
              <a:extLst>
                <a:ext uri="{FF2B5EF4-FFF2-40B4-BE49-F238E27FC236}">
                  <a16:creationId xmlns:a16="http://schemas.microsoft.com/office/drawing/2014/main" id="{C0C115DF-6D28-4603-903A-065A4F27245C}"/>
                </a:ext>
              </a:extLst>
            </p:cNvPr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7" name="Oval 1066">
              <a:extLst>
                <a:ext uri="{FF2B5EF4-FFF2-40B4-BE49-F238E27FC236}">
                  <a16:creationId xmlns:a16="http://schemas.microsoft.com/office/drawing/2014/main" id="{A2A8E2DC-8965-4DB3-B9E3-3CB8F09EA653}"/>
                </a:ext>
              </a:extLst>
            </p:cNvPr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8" name="Oval 1067">
              <a:extLst>
                <a:ext uri="{FF2B5EF4-FFF2-40B4-BE49-F238E27FC236}">
                  <a16:creationId xmlns:a16="http://schemas.microsoft.com/office/drawing/2014/main" id="{1F91E05F-AEEA-4931-A23F-17FF2141927F}"/>
                </a:ext>
              </a:extLst>
            </p:cNvPr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F7905202-7472-4C01-A9F2-01AF9049F6CC}"/>
                </a:ext>
              </a:extLst>
            </p:cNvPr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2C65D2E9-12CD-4C44-B667-48D56BA4A2F3}"/>
                </a:ext>
              </a:extLst>
            </p:cNvPr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71" name="Oval 1070">
              <a:extLst>
                <a:ext uri="{FF2B5EF4-FFF2-40B4-BE49-F238E27FC236}">
                  <a16:creationId xmlns:a16="http://schemas.microsoft.com/office/drawing/2014/main" id="{27EC1BE1-5AFB-421A-A333-18202096FE8F}"/>
                </a:ext>
              </a:extLst>
            </p:cNvPr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XC 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013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XC 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</p:cNvCxnSpPr>
          <p:nvPr/>
        </p:nvCxnSpPr>
        <p:spPr>
          <a:xfrm>
            <a:off x="3542237" y="2602632"/>
            <a:ext cx="21542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</p:cNvCxnSpPr>
          <p:nvPr/>
        </p:nvCxnSpPr>
        <p:spPr>
          <a:xfrm>
            <a:off x="11110695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1949293" y="4123187"/>
            <a:ext cx="3207430" cy="864096"/>
            <a:chOff x="0" y="4258816"/>
            <a:chExt cx="3207430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2" y="4348315"/>
              <a:ext cx="3053068" cy="685098"/>
              <a:chOff x="193374" y="4366987"/>
              <a:chExt cx="3053068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635708" cy="285972"/>
                <a:chOff x="1303196" y="4059783"/>
                <a:chExt cx="3238308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855613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XC 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4" y="4766113"/>
                <a:ext cx="3053068" cy="285972"/>
                <a:chOff x="5670472" y="4079523"/>
                <a:chExt cx="3751088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3343181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XC 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/>
          <p:cNvGrpSpPr/>
          <p:nvPr/>
        </p:nvGrpSpPr>
        <p:grpSpPr>
          <a:xfrm>
            <a:off x="9702695" y="4322750"/>
            <a:ext cx="2816001" cy="285972"/>
            <a:chOff x="10700177" y="4138339"/>
            <a:chExt cx="3459820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3100381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3540141" y="5045283"/>
            <a:ext cx="25734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117103" y="5286142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11110695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74790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79688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</p:cNvCxnSpPr>
          <p:nvPr/>
        </p:nvCxnSpPr>
        <p:spPr>
          <a:xfrm flipH="1">
            <a:off x="731520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50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5846599" y="4345162"/>
            <a:ext cx="2937202" cy="285972"/>
            <a:chOff x="5670472" y="4079523"/>
            <a:chExt cx="3608731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3200824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XC Digital Explorer | Roadmap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7292716" y="4908765"/>
            <a:ext cx="44969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" name="Rectangle: Rounded Corners 50"/>
          <p:cNvSpPr/>
          <p:nvPr/>
        </p:nvSpPr>
        <p:spPr>
          <a:xfrm>
            <a:off x="5879295" y="529209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445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XC Digital Explor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 single graph knowledge platform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industry knowledge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r>
              <a:rPr lang="en-GB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nage &amp; present DXC’s offering family trends</a:t>
            </a:r>
            <a:br>
              <a:rPr lang="en-GB" dirty="0"/>
            </a:br>
            <a:r>
              <a:rPr lang="en-GB" sz="1800" b="0" dirty="0"/>
              <a:t>(emerging -&gt; late adaptors)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 the client innovation agenda frameworks</a:t>
            </a:r>
          </a:p>
          <a:p>
            <a:pPr marL="625475" lvl="2" indent="-271463"/>
            <a:r>
              <a:rPr lang="en-GB" dirty="0"/>
              <a:t>Provides a dynamic canvas for account and client teams to build out innovation agenda’s</a:t>
            </a:r>
          </a:p>
          <a:p>
            <a:pPr marL="625475" lvl="2" indent="-271463"/>
            <a:r>
              <a:rPr lang="en-GB" dirty="0"/>
              <a:t>Map industry and offering trends against client strategic programs</a:t>
            </a:r>
          </a:p>
          <a:p>
            <a:pPr marL="625475" lvl="2" indent="-271463"/>
            <a:r>
              <a:rPr lang="en-GB" dirty="0"/>
              <a:t>Generate consolidated views and insights against all DXC client innovation agend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pture and present DXC’s leading industry solution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467328" y="1634721"/>
            <a:ext cx="5400600" cy="4960158"/>
            <a:chOff x="4434880" y="874440"/>
            <a:chExt cx="5400600" cy="4960158"/>
          </a:xfrm>
        </p:grpSpPr>
        <p:sp>
          <p:nvSpPr>
            <p:cNvPr id="4" name="Oval 3"/>
            <p:cNvSpPr/>
            <p:nvPr/>
          </p:nvSpPr>
          <p:spPr>
            <a:xfrm>
              <a:off x="5623012" y="874440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Disruptors</a:t>
              </a:r>
            </a:p>
            <a:p>
              <a:pPr algn="ctr"/>
              <a:r>
                <a:rPr lang="en-GB" dirty="0">
                  <a:solidFill>
                    <a:schemeClr val="accent3"/>
                  </a:solidFill>
                </a:rPr>
                <a:t>&amp; Trends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4434880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4"/>
                  </a:solidFill>
                </a:rPr>
                <a:t>Innovation Agenda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811144" y="2810262"/>
              <a:ext cx="3024336" cy="3024336"/>
            </a:xfrm>
            <a:prstGeom prst="ellipse">
              <a:avLst/>
            </a:prstGeom>
            <a:solidFill>
              <a:srgbClr val="000000">
                <a:alpha val="60000"/>
              </a:srgbClr>
            </a:solidFill>
            <a:ln w="285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>
                  <a:solidFill>
                    <a:schemeClr val="accent5"/>
                  </a:solidFill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498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 on collaboration </a:t>
            </a:r>
          </a:p>
        </p:txBody>
      </p:sp>
      <p:sp>
        <p:nvSpPr>
          <p:cNvPr id="100" name="Oval 99"/>
          <p:cNvSpPr/>
          <p:nvPr/>
        </p:nvSpPr>
        <p:spPr bwMode="ltGray">
          <a:xfrm>
            <a:off x="6245943" y="2890664"/>
            <a:ext cx="2304256" cy="2304256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000" b="1" dirty="0"/>
              <a:t>DXC Digital Explorer</a:t>
            </a:r>
          </a:p>
        </p:txBody>
      </p:sp>
      <p:sp>
        <p:nvSpPr>
          <p:cNvPr id="101" name="Oval 100"/>
          <p:cNvSpPr/>
          <p:nvPr/>
        </p:nvSpPr>
        <p:spPr bwMode="ltGray">
          <a:xfrm>
            <a:off x="4451348" y="2091932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Industry Trends</a:t>
            </a:r>
          </a:p>
        </p:txBody>
      </p:sp>
      <p:sp>
        <p:nvSpPr>
          <p:cNvPr id="102" name="Oval 101"/>
          <p:cNvSpPr/>
          <p:nvPr/>
        </p:nvSpPr>
        <p:spPr bwMode="ltGray">
          <a:xfrm>
            <a:off x="4492165" y="5039064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Technology Trends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6572392" y="5787673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lient Roadmaps</a:t>
            </a:r>
          </a:p>
        </p:txBody>
      </p:sp>
      <p:sp>
        <p:nvSpPr>
          <p:cNvPr id="104" name="Oval 103"/>
          <p:cNvSpPr/>
          <p:nvPr/>
        </p:nvSpPr>
        <p:spPr bwMode="ltGray">
          <a:xfrm>
            <a:off x="8708420" y="4923807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Solutions</a:t>
            </a:r>
          </a:p>
        </p:txBody>
      </p:sp>
      <p:sp>
        <p:nvSpPr>
          <p:cNvPr id="105" name="Oval 104"/>
          <p:cNvSpPr/>
          <p:nvPr/>
        </p:nvSpPr>
        <p:spPr bwMode="ltGray">
          <a:xfrm>
            <a:off x="7897055" y="707089"/>
            <a:ext cx="2099220" cy="2153522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600" b="1" dirty="0"/>
              <a:t>R&amp;D and invest insights</a:t>
            </a:r>
          </a:p>
        </p:txBody>
      </p:sp>
      <p:sp>
        <p:nvSpPr>
          <p:cNvPr id="106" name="Oval 105"/>
          <p:cNvSpPr/>
          <p:nvPr/>
        </p:nvSpPr>
        <p:spPr bwMode="ltGray">
          <a:xfrm>
            <a:off x="9176423" y="3097451"/>
            <a:ext cx="1639705" cy="1682121"/>
          </a:xfrm>
          <a:prstGeom prst="ellipse">
            <a:avLst/>
          </a:prstGeom>
          <a:solidFill>
            <a:srgbClr val="0570B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Patterns</a:t>
            </a: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>
          <a:xfrm>
            <a:off x="6015058" y="3377140"/>
            <a:ext cx="230885" cy="1395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cxnSpLocks/>
          </p:cNvCxnSpPr>
          <p:nvPr/>
        </p:nvCxnSpPr>
        <p:spPr>
          <a:xfrm flipV="1">
            <a:off x="6093420" y="4848688"/>
            <a:ext cx="287005" cy="22506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cxnSpLocks/>
          </p:cNvCxnSpPr>
          <p:nvPr/>
        </p:nvCxnSpPr>
        <p:spPr>
          <a:xfrm flipV="1">
            <a:off x="7398071" y="5280706"/>
            <a:ext cx="7429" cy="42118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cxnSpLocks/>
          </p:cNvCxnSpPr>
          <p:nvPr/>
        </p:nvCxnSpPr>
        <p:spPr>
          <a:xfrm flipH="1" flipV="1">
            <a:off x="8248073" y="4961223"/>
            <a:ext cx="454649" cy="3194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cxnSpLocks/>
          </p:cNvCxnSpPr>
          <p:nvPr/>
        </p:nvCxnSpPr>
        <p:spPr>
          <a:xfrm flipH="1" flipV="1">
            <a:off x="8637445" y="3890611"/>
            <a:ext cx="45173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cxnSpLocks/>
          </p:cNvCxnSpPr>
          <p:nvPr/>
        </p:nvCxnSpPr>
        <p:spPr>
          <a:xfrm flipV="1">
            <a:off x="8105257" y="2720553"/>
            <a:ext cx="213680" cy="3249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/>
          <p:cNvSpPr/>
          <p:nvPr/>
        </p:nvSpPr>
        <p:spPr bwMode="ltGray">
          <a:xfrm>
            <a:off x="1624758" y="2228366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Marketing</a:t>
            </a:r>
          </a:p>
        </p:txBody>
      </p:sp>
      <p:sp>
        <p:nvSpPr>
          <p:cNvPr id="114" name="Rectangle: Rounded Corners 113"/>
          <p:cNvSpPr/>
          <p:nvPr/>
        </p:nvSpPr>
        <p:spPr bwMode="ltGray">
          <a:xfrm>
            <a:off x="1624944" y="482101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1800" dirty="0">
                <a:solidFill>
                  <a:schemeClr val="tx1"/>
                </a:solidFill>
              </a:rPr>
              <a:t>Technology Office</a:t>
            </a:r>
          </a:p>
        </p:txBody>
      </p:sp>
      <p:sp>
        <p:nvSpPr>
          <p:cNvPr id="115" name="Rectangle: Rounded Corners 114"/>
          <p:cNvSpPr/>
          <p:nvPr/>
        </p:nvSpPr>
        <p:spPr bwMode="ltGray">
          <a:xfrm>
            <a:off x="2201194" y="5469083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ndustry Trends</a:t>
            </a:r>
          </a:p>
        </p:txBody>
      </p:sp>
      <p:sp>
        <p:nvSpPr>
          <p:cNvPr id="116" name="Rectangle: Rounded Corners 115"/>
          <p:cNvSpPr/>
          <p:nvPr/>
        </p:nvSpPr>
        <p:spPr bwMode="ltGray">
          <a:xfrm>
            <a:off x="1625130" y="5469083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7" name="Rectangle: Rounded Corners 116"/>
          <p:cNvSpPr/>
          <p:nvPr/>
        </p:nvSpPr>
        <p:spPr bwMode="ltGray">
          <a:xfrm>
            <a:off x="2201194" y="571588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Technology Trends</a:t>
            </a:r>
          </a:p>
        </p:txBody>
      </p:sp>
      <p:sp>
        <p:nvSpPr>
          <p:cNvPr id="118" name="Rectangle: Rounded Corners 117"/>
          <p:cNvSpPr/>
          <p:nvPr/>
        </p:nvSpPr>
        <p:spPr bwMode="ltGray">
          <a:xfrm>
            <a:off x="1625130" y="571588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19" name="Rectangle: Rounded Corners 118"/>
          <p:cNvSpPr/>
          <p:nvPr/>
        </p:nvSpPr>
        <p:spPr bwMode="ltGray">
          <a:xfrm>
            <a:off x="2195936" y="6450665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R&amp;D Insights</a:t>
            </a:r>
          </a:p>
        </p:txBody>
      </p:sp>
      <p:sp>
        <p:nvSpPr>
          <p:cNvPr id="120" name="Rectangle: Rounded Corners 119"/>
          <p:cNvSpPr/>
          <p:nvPr/>
        </p:nvSpPr>
        <p:spPr bwMode="ltGray">
          <a:xfrm>
            <a:off x="1619872" y="6450665"/>
            <a:ext cx="576064" cy="252029"/>
          </a:xfrm>
          <a:prstGeom prst="round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121" name="Rectangle: Rounded Corners 120"/>
          <p:cNvSpPr/>
          <p:nvPr/>
        </p:nvSpPr>
        <p:spPr bwMode="ltGray">
          <a:xfrm>
            <a:off x="2200822" y="5957057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Emerging Solutions</a:t>
            </a:r>
          </a:p>
        </p:txBody>
      </p:sp>
      <p:sp>
        <p:nvSpPr>
          <p:cNvPr id="122" name="Rectangle: Rounded Corners 121"/>
          <p:cNvSpPr/>
          <p:nvPr/>
        </p:nvSpPr>
        <p:spPr bwMode="ltGray">
          <a:xfrm>
            <a:off x="1624758" y="5957057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3" name="Rectangle: Rounded Corners 122"/>
          <p:cNvSpPr/>
          <p:nvPr/>
        </p:nvSpPr>
        <p:spPr bwMode="ltGray">
          <a:xfrm>
            <a:off x="2200822" y="6203861"/>
            <a:ext cx="1512168" cy="25202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tx1"/>
                </a:solidFill>
              </a:rPr>
              <a:t>IP knowledge</a:t>
            </a:r>
          </a:p>
        </p:txBody>
      </p:sp>
      <p:sp>
        <p:nvSpPr>
          <p:cNvPr id="124" name="Rectangle: Rounded Corners 123"/>
          <p:cNvSpPr/>
          <p:nvPr/>
        </p:nvSpPr>
        <p:spPr bwMode="ltGray">
          <a:xfrm>
            <a:off x="1624758" y="6203861"/>
            <a:ext cx="576064" cy="252029"/>
          </a:xfrm>
          <a:prstGeom prst="roundRect">
            <a:avLst/>
          </a:prstGeom>
          <a:solidFill>
            <a:srgbClr val="01A98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</a:rPr>
              <a:t>POST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624758" y="2875694"/>
            <a:ext cx="2088232" cy="739280"/>
            <a:chOff x="551384" y="1952835"/>
            <a:chExt cx="2088232" cy="739280"/>
          </a:xfrm>
        </p:grpSpPr>
        <p:sp>
          <p:nvSpPr>
            <p:cNvPr id="126" name="Rectangle: Rounded Corners 125"/>
            <p:cNvSpPr/>
            <p:nvPr/>
          </p:nvSpPr>
          <p:spPr bwMode="ltGray">
            <a:xfrm>
              <a:off x="1127448" y="1952835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Insights</a:t>
              </a:r>
            </a:p>
          </p:txBody>
        </p:sp>
        <p:sp>
          <p:nvSpPr>
            <p:cNvPr id="127" name="Rectangle: Rounded Corners 126"/>
            <p:cNvSpPr/>
            <p:nvPr/>
          </p:nvSpPr>
          <p:spPr bwMode="ltGray">
            <a:xfrm>
              <a:off x="551384" y="1952835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28" name="Rectangle: Rounded Corners 127"/>
            <p:cNvSpPr/>
            <p:nvPr/>
          </p:nvSpPr>
          <p:spPr bwMode="ltGray">
            <a:xfrm>
              <a:off x="1127448" y="220225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Summary</a:t>
              </a:r>
            </a:p>
          </p:txBody>
        </p:sp>
        <p:sp>
          <p:nvSpPr>
            <p:cNvPr id="129" name="Rectangle: Rounded Corners 128"/>
            <p:cNvSpPr/>
            <p:nvPr/>
          </p:nvSpPr>
          <p:spPr bwMode="ltGray">
            <a:xfrm>
              <a:off x="551384" y="220225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551384" y="2440086"/>
              <a:ext cx="2088232" cy="252029"/>
              <a:chOff x="551384" y="2493555"/>
              <a:chExt cx="2088232" cy="252029"/>
            </a:xfrm>
          </p:grpSpPr>
          <p:sp>
            <p:nvSpPr>
              <p:cNvPr id="131" name="Rectangle: Rounded Corners 130"/>
              <p:cNvSpPr/>
              <p:nvPr/>
            </p:nvSpPr>
            <p:spPr bwMode="ltGray">
              <a:xfrm>
                <a:off x="1127448" y="2493555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Reference Stories</a:t>
                </a:r>
              </a:p>
            </p:txBody>
          </p:sp>
          <p:sp>
            <p:nvSpPr>
              <p:cNvPr id="132" name="Rectangle: Rounded Corners 131"/>
              <p:cNvSpPr/>
              <p:nvPr/>
            </p:nvSpPr>
            <p:spPr bwMode="ltGray">
              <a:xfrm>
                <a:off x="551384" y="2493555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</p:grpSp>
      <p:sp>
        <p:nvSpPr>
          <p:cNvPr id="134" name="Rectangle: Rounded Corners 133"/>
          <p:cNvSpPr/>
          <p:nvPr/>
        </p:nvSpPr>
        <p:spPr bwMode="ltGray">
          <a:xfrm>
            <a:off x="11720821" y="1216052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Build</a:t>
            </a:r>
          </a:p>
        </p:txBody>
      </p:sp>
      <p:sp>
        <p:nvSpPr>
          <p:cNvPr id="158" name="Rectangle: Rounded Corners 157"/>
          <p:cNvSpPr/>
          <p:nvPr/>
        </p:nvSpPr>
        <p:spPr bwMode="ltGray">
          <a:xfrm>
            <a:off x="11733360" y="5579813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Deliver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1733360" y="6227885"/>
            <a:ext cx="2088232" cy="756087"/>
            <a:chOff x="9126686" y="5915567"/>
            <a:chExt cx="2088232" cy="756087"/>
          </a:xfrm>
        </p:grpSpPr>
        <p:grpSp>
          <p:nvGrpSpPr>
            <p:cNvPr id="160" name="Group 159"/>
            <p:cNvGrpSpPr/>
            <p:nvPr/>
          </p:nvGrpSpPr>
          <p:grpSpPr>
            <a:xfrm>
              <a:off x="9126686" y="5915567"/>
              <a:ext cx="2088232" cy="252029"/>
              <a:chOff x="9096700" y="5647557"/>
              <a:chExt cx="2088232" cy="252029"/>
            </a:xfrm>
          </p:grpSpPr>
          <p:sp>
            <p:nvSpPr>
              <p:cNvPr id="167" name="Rectangle: Rounded Corners 16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Industry Trends</a:t>
                </a:r>
              </a:p>
            </p:txBody>
          </p:sp>
          <p:sp>
            <p:nvSpPr>
              <p:cNvPr id="168" name="Rectangle: Rounded Corners 16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9126686" y="6167596"/>
              <a:ext cx="2088232" cy="252029"/>
              <a:chOff x="9096700" y="5647557"/>
              <a:chExt cx="2088232" cy="252029"/>
            </a:xfrm>
          </p:grpSpPr>
          <p:sp>
            <p:nvSpPr>
              <p:cNvPr id="165" name="Rectangle: Rounded Corners 164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Operational Efficiency</a:t>
                </a:r>
              </a:p>
            </p:txBody>
          </p:sp>
          <p:sp>
            <p:nvSpPr>
              <p:cNvPr id="166" name="Rectangle: Rounded Corners 165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>
              <a:off x="9126686" y="6419625"/>
              <a:ext cx="2088232" cy="252029"/>
              <a:chOff x="9096700" y="5647557"/>
              <a:chExt cx="2088232" cy="252029"/>
            </a:xfrm>
          </p:grpSpPr>
          <p:sp>
            <p:nvSpPr>
              <p:cNvPr id="163" name="Rectangle: Rounded Corners 162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64" name="Rectangle: Rounded Corners 163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1717646" y="1855947"/>
            <a:ext cx="2094582" cy="1013453"/>
            <a:chOff x="9120336" y="1261277"/>
            <a:chExt cx="2094582" cy="1013453"/>
          </a:xfrm>
        </p:grpSpPr>
        <p:grpSp>
          <p:nvGrpSpPr>
            <p:cNvPr id="149" name="Group 148"/>
            <p:cNvGrpSpPr/>
            <p:nvPr/>
          </p:nvGrpSpPr>
          <p:grpSpPr>
            <a:xfrm>
              <a:off x="9123511" y="1261277"/>
              <a:ext cx="2088232" cy="252029"/>
              <a:chOff x="9126686" y="1261277"/>
              <a:chExt cx="2088232" cy="252029"/>
            </a:xfrm>
          </p:grpSpPr>
          <p:sp>
            <p:nvSpPr>
              <p:cNvPr id="156" name="Rectangle: Rounded Corners 155"/>
              <p:cNvSpPr/>
              <p:nvPr/>
            </p:nvSpPr>
            <p:spPr bwMode="ltGray">
              <a:xfrm>
                <a:off x="9702750" y="126127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POR direction</a:t>
                </a:r>
              </a:p>
            </p:txBody>
          </p:sp>
          <p:sp>
            <p:nvSpPr>
              <p:cNvPr id="157" name="Rectangle: Rounded Corners 156"/>
              <p:cNvSpPr/>
              <p:nvPr/>
            </p:nvSpPr>
            <p:spPr bwMode="ltGray">
              <a:xfrm>
                <a:off x="9126686" y="1261277"/>
                <a:ext cx="576064" cy="252029"/>
              </a:xfrm>
              <a:prstGeom prst="roundRect">
                <a:avLst/>
              </a:prstGeom>
              <a:solidFill>
                <a:srgbClr val="0070C0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GET</a:t>
                </a:r>
              </a:p>
            </p:txBody>
          </p:sp>
        </p:grpSp>
        <p:sp>
          <p:nvSpPr>
            <p:cNvPr id="150" name="Rectangle: Rounded Corners 149"/>
            <p:cNvSpPr/>
            <p:nvPr/>
          </p:nvSpPr>
          <p:spPr bwMode="ltGray">
            <a:xfrm>
              <a:off x="9699575" y="151858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51" name="Rectangle: Rounded Corners 150"/>
            <p:cNvSpPr/>
            <p:nvPr/>
          </p:nvSpPr>
          <p:spPr bwMode="ltGray">
            <a:xfrm>
              <a:off x="9123511" y="151858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2" name="Rectangle: Rounded Corners 151"/>
            <p:cNvSpPr/>
            <p:nvPr/>
          </p:nvSpPr>
          <p:spPr bwMode="ltGray">
            <a:xfrm>
              <a:off x="9696400" y="177589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Technology Trends</a:t>
              </a:r>
            </a:p>
          </p:txBody>
        </p:sp>
        <p:sp>
          <p:nvSpPr>
            <p:cNvPr id="153" name="Rectangle: Rounded Corners 152"/>
            <p:cNvSpPr/>
            <p:nvPr/>
          </p:nvSpPr>
          <p:spPr bwMode="ltGray">
            <a:xfrm>
              <a:off x="9120336" y="1775897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sp>
          <p:nvSpPr>
            <p:cNvPr id="154" name="Rectangle: Rounded Corners 153"/>
            <p:cNvSpPr/>
            <p:nvPr/>
          </p:nvSpPr>
          <p:spPr bwMode="ltGray">
            <a:xfrm>
              <a:off x="9702750" y="202270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Patterns</a:t>
              </a:r>
            </a:p>
          </p:txBody>
        </p:sp>
        <p:sp>
          <p:nvSpPr>
            <p:cNvPr id="155" name="Rectangle: Rounded Corners 154"/>
            <p:cNvSpPr/>
            <p:nvPr/>
          </p:nvSpPr>
          <p:spPr bwMode="ltGray">
            <a:xfrm>
              <a:off x="9126686" y="202270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</p:grpSp>
      <p:sp>
        <p:nvSpPr>
          <p:cNvPr id="138" name="Rectangle: Rounded Corners 137"/>
          <p:cNvSpPr/>
          <p:nvPr/>
        </p:nvSpPr>
        <p:spPr bwMode="ltGray">
          <a:xfrm>
            <a:off x="11720821" y="3192661"/>
            <a:ext cx="2088232" cy="64807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GB" sz="2400" dirty="0">
                <a:solidFill>
                  <a:schemeClr val="tx1"/>
                </a:solidFill>
              </a:rPr>
              <a:t>Sell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1717646" y="3839837"/>
            <a:ext cx="2094582" cy="1014842"/>
            <a:chOff x="9120336" y="3793657"/>
            <a:chExt cx="2094582" cy="1014842"/>
          </a:xfrm>
        </p:grpSpPr>
        <p:sp>
          <p:nvSpPr>
            <p:cNvPr id="140" name="Rectangle: Rounded Corners 139"/>
            <p:cNvSpPr/>
            <p:nvPr/>
          </p:nvSpPr>
          <p:spPr bwMode="ltGray">
            <a:xfrm>
              <a:off x="9696400" y="3793657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Industry Trends</a:t>
              </a:r>
            </a:p>
          </p:txBody>
        </p:sp>
        <p:sp>
          <p:nvSpPr>
            <p:cNvPr id="141" name="Rectangle: Rounded Corners 140"/>
            <p:cNvSpPr/>
            <p:nvPr/>
          </p:nvSpPr>
          <p:spPr bwMode="ltGray">
            <a:xfrm>
              <a:off x="9120336" y="3793657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  <p:sp>
          <p:nvSpPr>
            <p:cNvPr id="142" name="Rectangle: Rounded Corners 141"/>
            <p:cNvSpPr/>
            <p:nvPr/>
          </p:nvSpPr>
          <p:spPr bwMode="ltGray">
            <a:xfrm>
              <a:off x="9702750" y="4304441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Client Roadmaps</a:t>
              </a:r>
            </a:p>
          </p:txBody>
        </p:sp>
        <p:sp>
          <p:nvSpPr>
            <p:cNvPr id="143" name="Rectangle: Rounded Corners 142"/>
            <p:cNvSpPr/>
            <p:nvPr/>
          </p:nvSpPr>
          <p:spPr bwMode="ltGray">
            <a:xfrm>
              <a:off x="9126686" y="4304441"/>
              <a:ext cx="576064" cy="252029"/>
            </a:xfrm>
            <a:prstGeom prst="roundRect">
              <a:avLst/>
            </a:prstGeom>
            <a:solidFill>
              <a:srgbClr val="01A9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POST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126686" y="4556470"/>
              <a:ext cx="2088232" cy="252029"/>
              <a:chOff x="9096700" y="5647557"/>
              <a:chExt cx="2088232" cy="252029"/>
            </a:xfrm>
          </p:grpSpPr>
          <p:sp>
            <p:nvSpPr>
              <p:cNvPr id="147" name="Rectangle: Rounded Corners 146"/>
              <p:cNvSpPr/>
              <p:nvPr/>
            </p:nvSpPr>
            <p:spPr bwMode="ltGray">
              <a:xfrm>
                <a:off x="9672764" y="5647557"/>
                <a:ext cx="1512168" cy="25202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tx1"/>
                    </a:solidFill>
                  </a:rPr>
                  <a:t>Solutions</a:t>
                </a:r>
              </a:p>
            </p:txBody>
          </p:sp>
          <p:sp>
            <p:nvSpPr>
              <p:cNvPr id="148" name="Rectangle: Rounded Corners 147"/>
              <p:cNvSpPr/>
              <p:nvPr/>
            </p:nvSpPr>
            <p:spPr bwMode="ltGray">
              <a:xfrm>
                <a:off x="9096700" y="5647557"/>
                <a:ext cx="576064" cy="252029"/>
              </a:xfrm>
              <a:prstGeom prst="roundRect">
                <a:avLst/>
              </a:prstGeom>
              <a:solidFill>
                <a:srgbClr val="01A982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dirty="0">
                    <a:solidFill>
                      <a:schemeClr val="bg1"/>
                    </a:solidFill>
                  </a:rPr>
                  <a:t>POST</a:t>
                </a:r>
              </a:p>
            </p:txBody>
          </p:sp>
        </p:grpSp>
        <p:sp>
          <p:nvSpPr>
            <p:cNvPr id="145" name="Rectangle: Rounded Corners 144"/>
            <p:cNvSpPr/>
            <p:nvPr/>
          </p:nvSpPr>
          <p:spPr bwMode="ltGray">
            <a:xfrm>
              <a:off x="9700418" y="4052412"/>
              <a:ext cx="1512168" cy="25202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tx1"/>
                  </a:solidFill>
                </a:rPr>
                <a:t>Operational Efficiency</a:t>
              </a:r>
            </a:p>
          </p:txBody>
        </p:sp>
        <p:sp>
          <p:nvSpPr>
            <p:cNvPr id="146" name="Rectangle: Rounded Corners 145"/>
            <p:cNvSpPr/>
            <p:nvPr/>
          </p:nvSpPr>
          <p:spPr bwMode="ltGray">
            <a:xfrm>
              <a:off x="9124354" y="4052412"/>
              <a:ext cx="576064" cy="252029"/>
            </a:xfrm>
            <a:prstGeom prst="roundRect">
              <a:avLst/>
            </a:prstGeom>
            <a:solidFill>
              <a:srgbClr val="0070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solidFill>
                    <a:schemeClr val="bg1"/>
                  </a:solidFill>
                </a:rPr>
                <a:t>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22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9A2300-6E29-4256-ACD2-6F6D99577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gital Explorer is the Enterprise</a:t>
            </a:r>
            <a:br>
              <a:rPr lang="en-US" dirty="0"/>
            </a:br>
            <a:r>
              <a:rPr lang="en-US" dirty="0"/>
              <a:t>Knowledge Graph for DXC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757EF1-296E-476E-BA25-4E02C326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5"/>
          </a:xfrm>
        </p:spPr>
        <p:txBody>
          <a:bodyPr>
            <a:normAutofit/>
          </a:bodyPr>
          <a:lstStyle/>
          <a:p>
            <a:r>
              <a:rPr lang="en-US" b="0" dirty="0"/>
              <a:t>Informing us about the needs of our existing and future clients through the </a:t>
            </a:r>
            <a:r>
              <a:rPr lang="en-US" dirty="0"/>
              <a:t>Trends</a:t>
            </a:r>
            <a:r>
              <a:rPr lang="en-US" b="0" dirty="0"/>
              <a:t> &amp; </a:t>
            </a:r>
            <a:r>
              <a:rPr lang="en-US" dirty="0"/>
              <a:t>Agendas </a:t>
            </a:r>
            <a:r>
              <a:rPr lang="en-US" b="0" dirty="0"/>
              <a:t>modules</a:t>
            </a:r>
          </a:p>
          <a:p>
            <a:pPr lvl="1"/>
            <a:r>
              <a:rPr lang="en-US" b="0" dirty="0"/>
              <a:t>Providing Industry views of business and technology trends which help frame conversations with our clients</a:t>
            </a:r>
          </a:p>
          <a:p>
            <a:pPr lvl="1"/>
            <a:r>
              <a:rPr lang="en-US" b="1" dirty="0"/>
              <a:t>Digital Roadmaps </a:t>
            </a:r>
            <a:r>
              <a:rPr lang="en-US" b="0" dirty="0"/>
              <a:t>drive the client towards the right goal</a:t>
            </a:r>
          </a:p>
          <a:p>
            <a:pPr lvl="2"/>
            <a:r>
              <a:rPr lang="en-US" b="0" dirty="0"/>
              <a:t>Providing a structured approach to understand the relevant trends and enablers to identify strategic digital projects with the client</a:t>
            </a:r>
          </a:p>
          <a:p>
            <a:pPr lvl="2"/>
            <a:r>
              <a:rPr lang="en-US" b="0" dirty="0"/>
              <a:t>Providing DXC outside-in information on demand signals to directly influence the offering IRBs and our partner conversations</a:t>
            </a:r>
          </a:p>
          <a:p>
            <a:endParaRPr lang="en-US" b="0" dirty="0"/>
          </a:p>
          <a:p>
            <a:r>
              <a:rPr lang="en-US" b="0" dirty="0"/>
              <a:t>Shows evidence of our integrated solutions across build, sell and delivery through the </a:t>
            </a:r>
            <a:r>
              <a:rPr lang="en-US" dirty="0"/>
              <a:t>Solutions</a:t>
            </a:r>
            <a:r>
              <a:rPr lang="en-US" b="0" dirty="0"/>
              <a:t> module.</a:t>
            </a:r>
          </a:p>
          <a:p>
            <a:pPr lvl="1"/>
            <a:r>
              <a:rPr lang="en-US" b="0" dirty="0"/>
              <a:t>Solutions can include both internal and partner capabilities</a:t>
            </a:r>
          </a:p>
        </p:txBody>
      </p:sp>
    </p:spTree>
    <p:extLst>
      <p:ext uri="{BB962C8B-B14F-4D97-AF65-F5344CB8AC3E}">
        <p14:creationId xmlns:p14="http://schemas.microsoft.com/office/powerpoint/2010/main" val="41550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1_DXC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D9D9D9"/>
      </a:accent3>
      <a:accent4>
        <a:srgbClr val="FFED00"/>
      </a:accent4>
      <a:accent5>
        <a:srgbClr val="64FF00"/>
      </a:accent5>
      <a:accent6>
        <a:srgbClr val="00C9FF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ptimized Speaker Template - TechCom24 2019 - Copy.pptx" id="{3EE38018-928B-41CF-8B11-0FA06723AFDD}" vid="{24D7BD64-ADC4-486E-8977-DB4EB23E36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617</TotalTime>
  <Words>1297</Words>
  <Application>Microsoft Office PowerPoint</Application>
  <PresentationFormat>Custom</PresentationFormat>
  <Paragraphs>263</Paragraphs>
  <Slides>18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Metric Bold</vt:lpstr>
      <vt:lpstr>Metric Regular</vt:lpstr>
      <vt:lpstr>DXC</vt:lpstr>
      <vt:lpstr>6_HPE_Standard_Metric_16x9_v2</vt:lpstr>
      <vt:lpstr>1_DXC</vt:lpstr>
      <vt:lpstr>think-cell Slide</vt:lpstr>
      <vt:lpstr>DXC Digital Explorer</vt:lpstr>
      <vt:lpstr>PowerPoint Presentation</vt:lpstr>
      <vt:lpstr>PowerPoint Presentation</vt:lpstr>
      <vt:lpstr>PowerPoint Presentation</vt:lpstr>
      <vt:lpstr>PowerPoint Presentation</vt:lpstr>
      <vt:lpstr>DXC Digital Explorer</vt:lpstr>
      <vt:lpstr>DXC Digital Explorer</vt:lpstr>
      <vt:lpstr>Build on collaboration </vt:lpstr>
      <vt:lpstr>Digital Explorer is the Enterprise Knowledge Graph for DXC</vt:lpstr>
      <vt:lpstr>Understand :  Industry and Technology trends</vt:lpstr>
      <vt:lpstr>Trends : Key features</vt:lpstr>
      <vt:lpstr>Shape :  Roadmaps</vt:lpstr>
      <vt:lpstr>Roadmaps : Key features</vt:lpstr>
      <vt:lpstr>Shape :  Workspaces</vt:lpstr>
      <vt:lpstr>Digital Explorer | Solutions</vt:lpstr>
      <vt:lpstr>Solution : Key features</vt:lpstr>
      <vt:lpstr>Explore : Graph Explorer</vt:lpstr>
      <vt:lpstr>More Information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9-02-15T14:59:45Z</dcterms:modified>
  <cp:category/>
</cp:coreProperties>
</file>